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43"/>
  </p:notesMasterIdLst>
  <p:handoutMasterIdLst>
    <p:handoutMasterId r:id="rId44"/>
  </p:handoutMasterIdLst>
  <p:sldIdLst>
    <p:sldId id="299" r:id="rId2"/>
    <p:sldId id="509" r:id="rId3"/>
    <p:sldId id="510" r:id="rId4"/>
    <p:sldId id="514" r:id="rId5"/>
    <p:sldId id="511" r:id="rId6"/>
    <p:sldId id="475" r:id="rId7"/>
    <p:sldId id="407" r:id="rId8"/>
    <p:sldId id="486" r:id="rId9"/>
    <p:sldId id="479" r:id="rId10"/>
    <p:sldId id="488" r:id="rId11"/>
    <p:sldId id="497" r:id="rId12"/>
    <p:sldId id="496" r:id="rId13"/>
    <p:sldId id="474" r:id="rId14"/>
    <p:sldId id="515" r:id="rId15"/>
    <p:sldId id="483" r:id="rId16"/>
    <p:sldId id="484" r:id="rId17"/>
    <p:sldId id="480" r:id="rId18"/>
    <p:sldId id="491" r:id="rId19"/>
    <p:sldId id="498" r:id="rId20"/>
    <p:sldId id="487" r:id="rId21"/>
    <p:sldId id="512" r:id="rId22"/>
    <p:sldId id="494" r:id="rId23"/>
    <p:sldId id="519" r:id="rId24"/>
    <p:sldId id="520" r:id="rId25"/>
    <p:sldId id="516" r:id="rId26"/>
    <p:sldId id="521" r:id="rId27"/>
    <p:sldId id="507" r:id="rId28"/>
    <p:sldId id="257" r:id="rId29"/>
    <p:sldId id="505" r:id="rId30"/>
    <p:sldId id="506" r:id="rId31"/>
    <p:sldId id="517" r:id="rId32"/>
    <p:sldId id="504" r:id="rId33"/>
    <p:sldId id="500" r:id="rId34"/>
    <p:sldId id="501" r:id="rId35"/>
    <p:sldId id="513" r:id="rId36"/>
    <p:sldId id="463" r:id="rId37"/>
    <p:sldId id="489" r:id="rId38"/>
    <p:sldId id="495" r:id="rId39"/>
    <p:sldId id="499" r:id="rId40"/>
    <p:sldId id="481" r:id="rId41"/>
    <p:sldId id="518" r:id="rId42"/>
  </p:sldIdLst>
  <p:sldSz cx="11522075" cy="6480175"/>
  <p:notesSz cx="9926638" cy="6797675"/>
  <p:custDataLst>
    <p:tags r:id="rId4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694"/>
    <a:srgbClr val="93AECA"/>
    <a:srgbClr val="CFAEC6"/>
    <a:srgbClr val="F1D989"/>
    <a:srgbClr val="F09899"/>
    <a:srgbClr val="000000"/>
    <a:srgbClr val="C4C4C4"/>
    <a:srgbClr val="E20074"/>
    <a:srgbClr val="E20000"/>
    <a:srgbClr val="992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48" autoAdjust="0"/>
    <p:restoredTop sz="96412" autoAdjust="0"/>
  </p:normalViewPr>
  <p:slideViewPr>
    <p:cSldViewPr snapToGrid="0" snapToObjects="1">
      <p:cViewPr varScale="1">
        <p:scale>
          <a:sx n="120" d="100"/>
          <a:sy n="120" d="100"/>
        </p:scale>
        <p:origin x="312" y="108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57" d="100"/>
          <a:sy n="157" d="100"/>
        </p:scale>
        <p:origin x="2664" y="15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95326" y="217300"/>
            <a:ext cx="8537366" cy="381904"/>
            <a:chOff x="324001" y="5672267"/>
            <a:chExt cx="10874224" cy="486439"/>
          </a:xfrm>
        </p:grpSpPr>
        <p:pic>
          <p:nvPicPr>
            <p:cNvPr id="10" name="Grafik 9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r="67770"/>
            <a:stretch>
              <a:fillRect/>
            </a:stretch>
          </p:blipFill>
          <p:spPr>
            <a:xfrm>
              <a:off x="324001" y="5672706"/>
              <a:ext cx="1181556" cy="486000"/>
            </a:xfrm>
            <a:prstGeom prst="rect">
              <a:avLst/>
            </a:prstGeom>
          </p:spPr>
        </p:pic>
        <p:pic>
          <p:nvPicPr>
            <p:cNvPr id="11" name="Grafik 10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l="40898"/>
            <a:stretch>
              <a:fillRect/>
            </a:stretch>
          </p:blipFill>
          <p:spPr>
            <a:xfrm>
              <a:off x="9031520" y="5672267"/>
              <a:ext cx="2166705" cy="48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1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75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Traditional </a:t>
            </a:r>
            <a:r>
              <a:rPr lang="de-DE" dirty="0">
                <a:sym typeface="Wingdings" panose="05000000000000000000" pitchFamily="2" charset="2"/>
              </a:rPr>
              <a:t> ML </a:t>
            </a:r>
            <a:r>
              <a:rPr lang="de-DE" dirty="0"/>
              <a:t>Shift: Also </a:t>
            </a:r>
            <a:r>
              <a:rPr lang="de-DE" dirty="0" err="1"/>
              <a:t>know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„Software 2.0“ (</a:t>
            </a:r>
            <a:r>
              <a:rPr lang="de-DE" sz="1000" b="0" i="0" kern="1200" dirty="0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Andrej </a:t>
            </a:r>
            <a:r>
              <a:rPr lang="de-DE" sz="1000" b="0" i="0" kern="1200" dirty="0" err="1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Karpathy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Überleitung: wie lernt nun eine </a:t>
            </a:r>
            <a:r>
              <a:rPr lang="de-DE" dirty="0" err="1"/>
              <a:t>maschine</a:t>
            </a:r>
            <a:r>
              <a:rPr lang="de-DE" dirty="0"/>
              <a:t>? Da gibt es nicht eine </a:t>
            </a:r>
            <a:r>
              <a:rPr lang="de-DE" dirty="0" err="1"/>
              <a:t>antwort</a:t>
            </a:r>
            <a:r>
              <a:rPr lang="de-DE" dirty="0"/>
              <a:t>, sondern (siehe </a:t>
            </a:r>
            <a:r>
              <a:rPr lang="de-DE" dirty="0" err="1"/>
              <a:t>historie</a:t>
            </a:r>
            <a:r>
              <a:rPr lang="de-DE" dirty="0"/>
              <a:t>) ein weites </a:t>
            </a:r>
            <a:r>
              <a:rPr lang="de-DE" dirty="0" err="1"/>
              <a:t>feld</a:t>
            </a:r>
            <a:r>
              <a:rPr lang="de-DE" dirty="0"/>
              <a:t> an </a:t>
            </a:r>
            <a:r>
              <a:rPr lang="de-DE" dirty="0" err="1"/>
              <a:t>möglichkeiten</a:t>
            </a:r>
            <a:r>
              <a:rPr lang="de-DE" dirty="0"/>
              <a:t>, die für verschiedene typen von erde (daten) und </a:t>
            </a:r>
            <a:r>
              <a:rPr lang="de-DE" dirty="0" err="1"/>
              <a:t>informationsbedarfen</a:t>
            </a:r>
            <a:r>
              <a:rPr lang="de-DE" dirty="0"/>
              <a:t> mehr oder weniger gut geeignet sin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8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443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28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32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217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253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771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</a:t>
            </a:r>
            <a:br>
              <a:rPr lang="de-DE" dirty="0"/>
            </a:br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596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3252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570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de-DE" dirty="0"/>
              <a:t>01</a:t>
            </a:r>
            <a:br>
              <a:rPr lang="de-DE" dirty="0"/>
            </a:br>
            <a:r>
              <a:rPr lang="de-DE" dirty="0" err="1"/>
              <a:t>TeleGrotesk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xt</a:t>
            </a:r>
            <a:r>
              <a:rPr lang="de-DE" dirty="0"/>
              <a:t> 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358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736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12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149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841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88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239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dirty="0" err="1"/>
          </a:p>
        </p:txBody>
      </p:sp>
    </p:spTree>
    <p:extLst>
      <p:ext uri="{BB962C8B-B14F-4D97-AF65-F5344CB8AC3E}">
        <p14:creationId xmlns:p14="http://schemas.microsoft.com/office/powerpoint/2010/main" val="1910033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36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4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8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/>
              <a:t>TELEGROTESK </a:t>
            </a:r>
            <a:r>
              <a:rPr lang="de-DE" sz="4800" dirty="0" err="1"/>
              <a:t>next</a:t>
            </a:r>
            <a:r>
              <a:rPr lang="de-DE" sz="4800" dirty="0"/>
              <a:t> ULTRA </a:t>
            </a:r>
            <a:br>
              <a:rPr lang="de-DE" sz="4800" dirty="0"/>
            </a:br>
            <a:r>
              <a:rPr lang="de-DE" sz="4800" dirty="0"/>
              <a:t>40 (48) 60 </a:t>
            </a:r>
            <a:r>
              <a:rPr lang="de-DE" sz="4800" dirty="0" err="1"/>
              <a:t>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i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85" name="Gruppieren 84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0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5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9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0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3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07" name="Gruppieren 10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10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783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6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baseline="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40) 48 PT</a:t>
            </a:r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35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9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57" name="Gruppieren 5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5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18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05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4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5" name="Gruppieren 6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44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525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44" name="Gruppieren 43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45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5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3144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85555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35518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3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260842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813170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334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9327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3849" y="5832937"/>
            <a:ext cx="2444018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4020" r:id="rId2"/>
    <p:sldLayoutId id="2147484021" r:id="rId3"/>
    <p:sldLayoutId id="2147484022" r:id="rId4"/>
    <p:sldLayoutId id="2147484023" r:id="rId5"/>
    <p:sldLayoutId id="2147484025" r:id="rId6"/>
    <p:sldLayoutId id="2147484027" r:id="rId7"/>
    <p:sldLayoutId id="2147484026" r:id="rId8"/>
    <p:sldLayoutId id="2147483986" r:id="rId9"/>
    <p:sldLayoutId id="2147483985" r:id="rId10"/>
    <p:sldLayoutId id="2147483982" r:id="rId11"/>
    <p:sldLayoutId id="2147484011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4018" r:id="rId22"/>
    <p:sldLayoutId id="2147484019" r:id="rId23"/>
    <p:sldLayoutId id="2147483930" r:id="rId24"/>
    <p:sldLayoutId id="2147483959" r:id="rId25"/>
    <p:sldLayoutId id="2147483960" r:id="rId26"/>
  </p:sldLayoutIdLst>
  <p:hf sldNum="0" hd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+mj-lt"/>
          <a:ea typeface="+mj-ea"/>
          <a:cs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commons.wikimedia.org/wiki/Category:Maneki_neko#/media/File:Lucky_Cat_(Unsplash).jpg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hyperlink" Target="https://www.tesla.com/autopilotAI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3.png"/><Relationship Id="rId5" Type="http://schemas.openxmlformats.org/officeDocument/2006/relationships/hyperlink" Target="https://twitter.com/c_a_schiller/status/1207283815552557056" TargetMode="External"/><Relationship Id="rId4" Type="http://schemas.openxmlformats.org/officeDocument/2006/relationships/hyperlink" Target="https://www.linkedin.com/posts/christianschiller_ai-artificialintelligence-ki-activity-6613046241179774976-SUba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5" Type="http://schemas.openxmlformats.org/officeDocument/2006/relationships/hyperlink" Target="https://scikit-learn.org/stable/" TargetMode="External"/><Relationship Id="rId10" Type="http://schemas.openxmlformats.org/officeDocument/2006/relationships/image" Target="../media/image50.png"/><Relationship Id="rId4" Type="http://schemas.openxmlformats.org/officeDocument/2006/relationships/hyperlink" Target="https://github.com/calliope-mini/calliope-project-template" TargetMode="External"/><Relationship Id="rId9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christian.schiller@telekom.de" TargetMode="External"/><Relationship Id="rId2" Type="http://schemas.openxmlformats.org/officeDocument/2006/relationships/hyperlink" Target="https://github.com/telekom/ki-in-schulen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.png"/><Relationship Id="rId4" Type="http://schemas.openxmlformats.org/officeDocument/2006/relationships/hyperlink" Target="https://github.com/c-a-schiller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52.pn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orange.biolab.si/" TargetMode="External"/><Relationship Id="rId11" Type="http://schemas.openxmlformats.org/officeDocument/2006/relationships/image" Target="../media/image47.png"/><Relationship Id="rId5" Type="http://schemas.openxmlformats.org/officeDocument/2006/relationships/hyperlink" Target="https://www.pygame.org/news" TargetMode="External"/><Relationship Id="rId10" Type="http://schemas.openxmlformats.org/officeDocument/2006/relationships/image" Target="../media/image46.png"/><Relationship Id="rId4" Type="http://schemas.openxmlformats.org/officeDocument/2006/relationships/hyperlink" Target="https://scikit-learn.org/stable/" TargetMode="External"/><Relationship Id="rId9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makecode.calliope.cc/beta" TargetMode="Externa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Mr42DQHy3TI" TargetMode="External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hyperlink" Target="https://selfdrivingcars.mit.edu/deeptraffic/" TargetMode="Externa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hyperlink" Target="https://aws.amazon.com/de/events/summits/online/emea/deepracer/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chinelearningmastery.com/basic-concepts-in-machine-learnin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01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23851" y="3240001"/>
            <a:ext cx="10874374" cy="1654210"/>
          </a:xfrm>
        </p:spPr>
        <p:txBody>
          <a:bodyPr/>
          <a:lstStyle/>
          <a:p>
            <a:r>
              <a:rPr lang="de-DE" sz="3200" dirty="0"/>
              <a:t>Künstliche Intelligenz (KI) in SCHULEN</a:t>
            </a:r>
            <a:br>
              <a:rPr lang="de-DE" sz="3200" dirty="0"/>
            </a:br>
            <a:r>
              <a:rPr lang="de-DE" sz="2400" dirty="0"/>
              <a:t>Projekt: </a:t>
            </a:r>
            <a:r>
              <a:rPr lang="de-DE" sz="2400" dirty="0" err="1"/>
              <a:t>Calliope</a:t>
            </a:r>
            <a:r>
              <a:rPr lang="de-DE" sz="2400" dirty="0"/>
              <a:t>-Rennspiel</a:t>
            </a:r>
            <a:br>
              <a:rPr lang="de-DE" sz="2400" dirty="0"/>
            </a:br>
            <a:r>
              <a:rPr lang="de-DE" sz="1800" dirty="0">
                <a:latin typeface="+mn-lt"/>
              </a:rPr>
              <a:t>Wissen zu Künstlicher Intelligenz Spielerisch in die Schulen Bringen </a:t>
            </a:r>
            <a:br>
              <a:rPr lang="de-DE" sz="1800" dirty="0">
                <a:latin typeface="+mn-lt"/>
              </a:rPr>
            </a:br>
            <a:r>
              <a:rPr lang="de-DE" sz="2400" dirty="0">
                <a:cs typeface="TeleGrotesk Next Ultra" pitchFamily="2" charset="0"/>
              </a:rPr>
              <a:t>	</a:t>
            </a:r>
            <a:br>
              <a:rPr lang="de-DE" sz="2400" dirty="0">
                <a:cs typeface="TeleGrotesk Next Ultra" pitchFamily="2" charset="0"/>
              </a:rPr>
            </a:br>
            <a:r>
              <a:rPr lang="de-DE" sz="2000" dirty="0">
                <a:cs typeface="TeleGrotesk Next Ultra" pitchFamily="2" charset="0"/>
              </a:rPr>
              <a:t>Ferenc Hechler, Mirko Jelinek</a:t>
            </a:r>
            <a:r>
              <a:rPr lang="de-DE" sz="2000" dirty="0"/>
              <a:t>, </a:t>
            </a:r>
            <a:r>
              <a:rPr lang="de-DE" sz="2000" u="sng" dirty="0"/>
              <a:t>Christian Schiller</a:t>
            </a:r>
            <a:r>
              <a:rPr lang="de-DE" sz="2000" dirty="0"/>
              <a:t> (LEAD), Dirk </a:t>
            </a:r>
            <a:r>
              <a:rPr lang="de-DE" sz="2000" dirty="0">
                <a:cs typeface="TeleGrotesk Next Ultra" pitchFamily="2" charset="0"/>
              </a:rPr>
              <a:t>Wolters	</a:t>
            </a:r>
            <a:br>
              <a:rPr lang="de-DE" sz="2000" dirty="0">
                <a:cs typeface="TeleGrotesk Next Ultra" pitchFamily="2" charset="0"/>
              </a:rPr>
            </a:br>
            <a:br>
              <a:rPr lang="de-DE" sz="2800" dirty="0">
                <a:cs typeface="TeleGrotesk Next Ultra" pitchFamily="2" charset="0"/>
              </a:rPr>
            </a:br>
            <a:r>
              <a:rPr lang="de-DE" sz="2400" dirty="0">
                <a:cs typeface="TeleGrotesk Next Ultra" pitchFamily="2" charset="0"/>
              </a:rPr>
              <a:t>				</a:t>
            </a:r>
            <a:r>
              <a:rPr lang="de-DE" sz="1800" dirty="0">
                <a:latin typeface="+mn-lt"/>
              </a:rPr>
              <a:t>Dokumentationsstand: 08.09.202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D89AC7A-24CB-49F2-9B02-A6D52861109C}"/>
              </a:ext>
            </a:extLst>
          </p:cNvPr>
          <p:cNvSpPr/>
          <p:nvPr/>
        </p:nvSpPr>
        <p:spPr bwMode="gray">
          <a:xfrm>
            <a:off x="0" y="0"/>
            <a:ext cx="11522075" cy="3240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58467" name="Picture 99" descr="3 Praxisbeispiele, wie kÃ¼nstliche Intelligenz jedem Unternehmen ...">
            <a:extLst>
              <a:ext uri="{FF2B5EF4-FFF2-40B4-BE49-F238E27FC236}">
                <a16:creationId xmlns:a16="http://schemas.microsoft.com/office/drawing/2014/main" id="{2E50A80E-909D-4552-A179-6021F912B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105" y="328817"/>
            <a:ext cx="3877424" cy="2582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1" name="Picture 103" descr="Volvo konzipiert fahrerloses Auto als Schlafwagen - ingenieur.de">
            <a:extLst>
              <a:ext uri="{FF2B5EF4-FFF2-40B4-BE49-F238E27FC236}">
                <a16:creationId xmlns:a16="http://schemas.microsoft.com/office/drawing/2014/main" id="{7022B2E0-0749-442E-B7E7-986EF3045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562" y="1"/>
            <a:ext cx="5847512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8" name="Picture 110" descr="Calliope | Code Your Life">
            <a:extLst>
              <a:ext uri="{FF2B5EF4-FFF2-40B4-BE49-F238E27FC236}">
                <a16:creationId xmlns:a16="http://schemas.microsoft.com/office/drawing/2014/main" id="{7A74044F-3169-4FB9-9887-4551F1C58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907" y="49122"/>
            <a:ext cx="3670258" cy="27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298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0B9C6-5496-4A55-9488-E8DA4574C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ünstliche „Intelligenz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5BC538-AD8E-4D48-97C9-56973B559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437038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gibt sehr </a:t>
            </a:r>
            <a:r>
              <a:rPr lang="de-DE" dirty="0">
                <a:solidFill>
                  <a:srgbClr val="FF0000"/>
                </a:solidFill>
              </a:rPr>
              <a:t>viele Varianten </a:t>
            </a:r>
            <a:r>
              <a:rPr lang="de-DE" dirty="0"/>
              <a:t>des maschinellen Lernens, jede hat ihre Vor- und Nachte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bwohl mathematisch relativ komplex, sind </a:t>
            </a:r>
            <a:r>
              <a:rPr lang="de-DE" dirty="0">
                <a:solidFill>
                  <a:srgbClr val="FF0000"/>
                </a:solidFill>
              </a:rPr>
              <a:t>künstliche neuronale Netzwerke (KNN)</a:t>
            </a:r>
            <a:r>
              <a:rPr lang="de-DE" dirty="0"/>
              <a:t>, die von der Biologie des menschlichen Hirns inspiriert sind, die auch für Laien am eingängigsten zu erklärende Varia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 heute sind KNN jedoch nur </a:t>
            </a:r>
            <a:r>
              <a:rPr lang="de-DE" dirty="0">
                <a:solidFill>
                  <a:srgbClr val="FF0000"/>
                </a:solidFill>
              </a:rPr>
              <a:t>sehr krude </a:t>
            </a:r>
            <a:r>
              <a:rPr lang="de-DE" dirty="0"/>
              <a:t>Nachbildungen des menschlichen Hir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resultierenden „Intelligenzen“ sind eher als „</a:t>
            </a:r>
            <a:r>
              <a:rPr lang="de-DE" dirty="0">
                <a:solidFill>
                  <a:srgbClr val="FF0000"/>
                </a:solidFill>
              </a:rPr>
              <a:t>Fachidioten</a:t>
            </a:r>
            <a:r>
              <a:rPr lang="de-DE" dirty="0"/>
              <a:t>“ zu bezeichnen, die für ein klar umgrenztes Problemfeld genauso gut oder gar besser sein können als ein Mensch, aber noch lange nicht an die holistische menschliche Intelligenz heranreich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1F687D-60F4-49F4-96EC-5C2736C81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96258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6B02E1B6-B3AA-47A5-807E-44FEB447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284" y="2591347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Bildergebnis fÃ¼r neuron axon dendrit">
            <a:extLst>
              <a:ext uri="{FF2B5EF4-FFF2-40B4-BE49-F238E27FC236}">
                <a16:creationId xmlns:a16="http://schemas.microsoft.com/office/drawing/2014/main" id="{33D08D0C-0529-4113-9FAD-75D744C9A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029" y="569682"/>
            <a:ext cx="2551830" cy="158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1628F15-CDF1-495C-9928-7470BEDBBA68}"/>
              </a:ext>
            </a:extLst>
          </p:cNvPr>
          <p:cNvSpPr txBox="1"/>
          <p:nvPr/>
        </p:nvSpPr>
        <p:spPr bwMode="gray">
          <a:xfrm>
            <a:off x="7794646" y="231743"/>
            <a:ext cx="1652596" cy="30697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Echte Neuron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651D966-694F-4B58-83CA-0233BE982919}"/>
              </a:ext>
            </a:extLst>
          </p:cNvPr>
          <p:cNvSpPr txBox="1"/>
          <p:nvPr/>
        </p:nvSpPr>
        <p:spPr bwMode="gray">
          <a:xfrm>
            <a:off x="7572767" y="2212449"/>
            <a:ext cx="2096354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Künstliche Neuronen</a:t>
            </a:r>
          </a:p>
        </p:txBody>
      </p:sp>
    </p:spTree>
    <p:extLst>
      <p:ext uri="{BB962C8B-B14F-4D97-AF65-F5344CB8AC3E}">
        <p14:creationId xmlns:p14="http://schemas.microsoft.com/office/powerpoint/2010/main" val="3595137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F40FD1-B1FC-4D15-864C-F8F60BA99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NN – grundsätzliche Funktionswei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0D636D-5BB8-4224-AC06-B1B85FEE69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B221C7C1-71EF-4C9A-B57D-2B02B8A7E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472" y="1187940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2585862-A7A0-4A6B-80B8-CA0464882879}"/>
              </a:ext>
            </a:extLst>
          </p:cNvPr>
          <p:cNvSpPr txBox="1"/>
          <p:nvPr/>
        </p:nvSpPr>
        <p:spPr bwMode="gray">
          <a:xfrm>
            <a:off x="1343174" y="4590193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Bei einem angelernten/trainierten KNN sind die Gewichte der </a:t>
            </a:r>
            <a:r>
              <a:rPr lang="de-DE" sz="1800" b="1" dirty="0" err="1">
                <a:solidFill>
                  <a:srgbClr val="FF0000"/>
                </a:solidFill>
              </a:rPr>
              <a:t>Neuronenverbindungen</a:t>
            </a:r>
            <a:r>
              <a:rPr lang="de-DE" sz="1800" b="1" dirty="0">
                <a:solidFill>
                  <a:srgbClr val="FF0000"/>
                </a:solidFill>
              </a:rPr>
              <a:t> (</a:t>
            </a:r>
            <a:r>
              <a:rPr lang="de-DE" sz="1800" b="1" dirty="0" err="1">
                <a:solidFill>
                  <a:srgbClr val="FF0000"/>
                </a:solidFill>
              </a:rPr>
              <a:t>Wx</a:t>
            </a:r>
            <a:r>
              <a:rPr lang="de-DE" sz="1800" b="1" dirty="0">
                <a:solidFill>
                  <a:srgbClr val="FF0000"/>
                </a:solidFill>
              </a:rPr>
              <a:t>)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so gesetzt (=angelernt/trainiert) worden, dass bei einem eingegebenen 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Bild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Idealerweise immer das „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“ aktiviert wird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D56CE2E-E081-4C39-BC62-173A2140D4B4}"/>
              </a:ext>
            </a:extLst>
          </p:cNvPr>
          <p:cNvSpPr/>
          <p:nvPr/>
        </p:nvSpPr>
        <p:spPr bwMode="gray">
          <a:xfrm>
            <a:off x="6364943" y="3003178"/>
            <a:ext cx="4105835" cy="4303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175F880-AD8E-498B-BB34-260A7EE08C42}"/>
              </a:ext>
            </a:extLst>
          </p:cNvPr>
          <p:cNvSpPr txBox="1"/>
          <p:nvPr/>
        </p:nvSpPr>
        <p:spPr bwMode="gray">
          <a:xfrm>
            <a:off x="7321755" y="3048002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A02DAB9-FB3C-49D7-A363-834594A99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4161" y="1777287"/>
            <a:ext cx="1605121" cy="230890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32A669C-DA3B-43B8-A991-644CE7C25BCB}"/>
              </a:ext>
            </a:extLst>
          </p:cNvPr>
          <p:cNvSpPr txBox="1"/>
          <p:nvPr/>
        </p:nvSpPr>
        <p:spPr bwMode="gray">
          <a:xfrm>
            <a:off x="1694161" y="4086192"/>
            <a:ext cx="733742" cy="3244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i="1" dirty="0">
                <a:hlinkClick r:id="rId4"/>
              </a:rPr>
              <a:t>Bildquelle</a:t>
            </a:r>
            <a:endParaRPr lang="de-DE" sz="1400" i="1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C0CABB2-5A59-4E72-962C-BEC07B2A6E44}"/>
              </a:ext>
            </a:extLst>
          </p:cNvPr>
          <p:cNvSpPr/>
          <p:nvPr/>
        </p:nvSpPr>
        <p:spPr bwMode="gray">
          <a:xfrm>
            <a:off x="6499411" y="3092823"/>
            <a:ext cx="251011" cy="252746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4AA566F-E93F-4ED0-A5EE-9DB50C73442F}"/>
              </a:ext>
            </a:extLst>
          </p:cNvPr>
          <p:cNvSpPr txBox="1"/>
          <p:nvPr/>
        </p:nvSpPr>
        <p:spPr bwMode="gray">
          <a:xfrm>
            <a:off x="7235999" y="2343307"/>
            <a:ext cx="1513553" cy="59885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Hunde-Neuron</a:t>
            </a:r>
          </a:p>
          <a:p>
            <a:pPr marL="0" indent="0">
              <a:buNone/>
            </a:pPr>
            <a:r>
              <a:rPr lang="de-DE" sz="1800" dirty="0"/>
              <a:t>Katzen-Neuron</a:t>
            </a:r>
          </a:p>
        </p:txBody>
      </p:sp>
    </p:spTree>
    <p:extLst>
      <p:ext uri="{BB962C8B-B14F-4D97-AF65-F5344CB8AC3E}">
        <p14:creationId xmlns:p14="http://schemas.microsoft.com/office/powerpoint/2010/main" val="1744031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9A82E8-85C9-4C36-953C-CBCD91C5B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I „Denkt“ ganz anders als der Mensch</a:t>
            </a:r>
            <a:br>
              <a:rPr lang="de-DE" dirty="0"/>
            </a:br>
            <a:r>
              <a:rPr lang="de-DE" sz="1800" dirty="0"/>
              <a:t>(Noch?) nicht vergleichbar mit natürlicher Intelligenz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738670-4EB2-4194-9BF4-4FFBF1CF7C3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BFDF38-DACF-40DA-941B-D3A7FCAA7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155" y="1244219"/>
            <a:ext cx="6339764" cy="303745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8DA0497-AA69-42D4-BAB4-9D2A382B3EC9}"/>
              </a:ext>
            </a:extLst>
          </p:cNvPr>
          <p:cNvSpPr txBox="1"/>
          <p:nvPr/>
        </p:nvSpPr>
        <p:spPr bwMode="gray">
          <a:xfrm>
            <a:off x="222355" y="1007016"/>
            <a:ext cx="2723146" cy="237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Quelle: Der Spiegel 33/10.08.2019, p. 101</a:t>
            </a:r>
            <a:endParaRPr lang="de-DE" sz="1050" i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1E1EB3-9F20-4DC9-A07D-0C92DC2DA2C6}"/>
              </a:ext>
            </a:extLst>
          </p:cNvPr>
          <p:cNvSpPr txBox="1"/>
          <p:nvPr/>
        </p:nvSpPr>
        <p:spPr bwMode="gray">
          <a:xfrm>
            <a:off x="461246" y="4281670"/>
            <a:ext cx="9348754" cy="10177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Rot</a:t>
            </a:r>
            <a:r>
              <a:rPr lang="de-DE" sz="1800" dirty="0"/>
              <a:t> hervorgehoben ist, woran eine einzelne angelernte KI Züge/Schiffe/</a:t>
            </a:r>
            <a:r>
              <a:rPr lang="de-DE" sz="1800" dirty="0" err="1"/>
              <a:t>Pferde+Reiter</a:t>
            </a:r>
            <a:r>
              <a:rPr lang="de-DE" sz="1800" dirty="0"/>
              <a:t> erkennt</a:t>
            </a:r>
            <a:br>
              <a:rPr lang="de-DE" sz="1800" dirty="0"/>
            </a:br>
            <a:r>
              <a:rPr lang="de-DE" sz="1800" i="1" dirty="0"/>
              <a:t>(eine anders angelernte KI würde es anders erkennen!)</a:t>
            </a:r>
          </a:p>
          <a:p>
            <a:r>
              <a:rPr lang="de-DE" sz="1800" dirty="0"/>
              <a:t>	Züge </a:t>
            </a:r>
            <a:r>
              <a:rPr lang="de-DE" sz="1800" dirty="0">
                <a:sym typeface="Wingdings" panose="05000000000000000000" pitchFamily="2" charset="2"/>
              </a:rPr>
              <a:t> Gleise</a:t>
            </a:r>
          </a:p>
          <a:p>
            <a:r>
              <a:rPr lang="de-DE" sz="1800" dirty="0">
                <a:sym typeface="Wingdings" panose="05000000000000000000" pitchFamily="2" charset="2"/>
              </a:rPr>
              <a:t>	Schiffe  Wasserflächen</a:t>
            </a:r>
          </a:p>
          <a:p>
            <a:r>
              <a:rPr lang="de-DE" sz="1800" dirty="0">
                <a:sym typeface="Wingdings" panose="05000000000000000000" pitchFamily="2" charset="2"/>
              </a:rPr>
              <a:t>	</a:t>
            </a:r>
            <a:r>
              <a:rPr lang="de-DE" sz="1800" dirty="0" err="1">
                <a:sym typeface="Wingdings" panose="05000000000000000000" pitchFamily="2" charset="2"/>
              </a:rPr>
              <a:t>Pferde+Reiter</a:t>
            </a:r>
            <a:r>
              <a:rPr lang="de-DE" sz="1800" dirty="0">
                <a:sym typeface="Wingdings" panose="05000000000000000000" pitchFamily="2" charset="2"/>
              </a:rPr>
              <a:t>  Logo der Fotoagentur, die die Bilder bereit gestellt ha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896713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A3A76-E3BB-4036-98CC-DAFBF1EFB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in der echten </a:t>
            </a:r>
            <a:r>
              <a:rPr lang="de-DE" dirty="0" err="1"/>
              <a:t>welt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6983C-5509-47FC-8448-DB0F1EACD3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D098FF-82B9-40A1-80E8-78B5DA793908}"/>
              </a:ext>
            </a:extLst>
          </p:cNvPr>
          <p:cNvSpPr txBox="1"/>
          <p:nvPr/>
        </p:nvSpPr>
        <p:spPr bwMode="gray">
          <a:xfrm>
            <a:off x="323998" y="922215"/>
            <a:ext cx="8271362" cy="376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So “</a:t>
            </a:r>
            <a:r>
              <a:rPr lang="en-US" sz="1800" b="1" dirty="0" err="1"/>
              <a:t>sieht</a:t>
            </a:r>
            <a:r>
              <a:rPr lang="en-US" sz="1800" b="1" dirty="0"/>
              <a:t>” </a:t>
            </a:r>
            <a:r>
              <a:rPr lang="en-US" sz="1800" b="1" dirty="0" err="1"/>
              <a:t>ein</a:t>
            </a:r>
            <a:r>
              <a:rPr lang="en-US" sz="1800" b="1" dirty="0"/>
              <a:t> Tesla Autopilot die </a:t>
            </a:r>
            <a:r>
              <a:rPr lang="en-US" sz="1800" b="1" dirty="0" err="1"/>
              <a:t>Verkehrssituation</a:t>
            </a:r>
            <a:r>
              <a:rPr lang="en-US" sz="1800" b="1" dirty="0"/>
              <a:t>: </a:t>
            </a:r>
            <a:r>
              <a:rPr lang="de-DE" sz="1800" dirty="0">
                <a:hlinkClick r:id="rId4"/>
              </a:rPr>
              <a:t>https://www.tesla.com/autopilotAI</a:t>
            </a:r>
            <a:endParaRPr lang="de-DE" sz="1800" dirty="0"/>
          </a:p>
        </p:txBody>
      </p:sp>
      <p:pic>
        <p:nvPicPr>
          <p:cNvPr id="8" name="Tesla-network">
            <a:hlinkClick r:id="" action="ppaction://media"/>
            <a:extLst>
              <a:ext uri="{FF2B5EF4-FFF2-40B4-BE49-F238E27FC236}">
                <a16:creationId xmlns:a16="http://schemas.microsoft.com/office/drawing/2014/main" id="{333B110C-8BEF-457B-BC29-6502A6CDC9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759998" y="1570278"/>
            <a:ext cx="4996010" cy="374700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0AA317B-C1F1-4F60-A3CA-0AE07A5EDC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724" y="1570278"/>
            <a:ext cx="4964284" cy="371924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50D20F-9958-4B3F-A930-943B2C21AB08}"/>
              </a:ext>
            </a:extLst>
          </p:cNvPr>
          <p:cNvSpPr txBox="1"/>
          <p:nvPr/>
        </p:nvSpPr>
        <p:spPr bwMode="gray">
          <a:xfrm>
            <a:off x="355724" y="5309335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C8D9CB-CC8D-498D-8233-43876532C0A3}"/>
              </a:ext>
            </a:extLst>
          </p:cNvPr>
          <p:cNvSpPr txBox="1"/>
          <p:nvPr/>
        </p:nvSpPr>
        <p:spPr bwMode="gray">
          <a:xfrm>
            <a:off x="5728193" y="5317286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73804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1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66FA3-509C-4778-A0AE-3D1E009A2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 Workshops Ke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03B2DB-1A8A-40C3-8E9C-31A88F3213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sz="4000" dirty="0"/>
              <a:t>Wir wollen auf dem </a:t>
            </a:r>
            <a:r>
              <a:rPr lang="de-DE" sz="4000" dirty="0" err="1"/>
              <a:t>Calliope</a:t>
            </a:r>
            <a:r>
              <a:rPr lang="de-DE" sz="4000" dirty="0"/>
              <a:t> Mini</a:t>
            </a:r>
          </a:p>
          <a:p>
            <a:pPr algn="ctr"/>
            <a:r>
              <a:rPr lang="de-DE" sz="4000" i="1" dirty="0"/>
              <a:t>selbst</a:t>
            </a:r>
            <a:r>
              <a:rPr lang="de-DE" sz="4000" dirty="0"/>
              <a:t> ein autonomes Auto entwickeln.</a:t>
            </a:r>
          </a:p>
          <a:p>
            <a:pPr algn="ctr"/>
            <a:endParaRPr lang="de-DE" sz="4000" dirty="0"/>
          </a:p>
          <a:p>
            <a:pPr algn="ctr"/>
            <a:r>
              <a:rPr lang="de-DE" sz="4000" i="1" dirty="0"/>
              <a:t>Wie geht da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E167B1-3EFF-49C2-8775-AAB8624A7E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5585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5411B0-B1CC-486B-8BA2-1B9C05E6E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auf dem </a:t>
            </a:r>
            <a:r>
              <a:rPr lang="de-DE" dirty="0" err="1"/>
              <a:t>Calliope</a:t>
            </a:r>
            <a:r>
              <a:rPr lang="de-DE" dirty="0"/>
              <a:t> Mini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458D61-2156-4DE8-BF90-A1D14053D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4CB8C7F-217E-42C1-B0E4-E5260D74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9566" y="1351328"/>
            <a:ext cx="3630587" cy="4061556"/>
          </a:xfrm>
          <a:prstGeom prst="rect">
            <a:avLst/>
          </a:prstGeom>
        </p:spPr>
      </p:pic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0BFCE234-4597-4FC1-A427-98B6A452A339}"/>
              </a:ext>
            </a:extLst>
          </p:cNvPr>
          <p:cNvSpPr/>
          <p:nvPr/>
        </p:nvSpPr>
        <p:spPr>
          <a:xfrm rot="10800000">
            <a:off x="7257623" y="3040185"/>
            <a:ext cx="1813169" cy="116900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4A75269-16BC-4D17-B8AF-692169C02705}"/>
              </a:ext>
            </a:extLst>
          </p:cNvPr>
          <p:cNvSpPr txBox="1"/>
          <p:nvPr/>
        </p:nvSpPr>
        <p:spPr bwMode="gray">
          <a:xfrm>
            <a:off x="9231578" y="3456158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ie Straß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23D7AB-1DDC-46EA-ADA5-9D39DD6A463A}"/>
              </a:ext>
            </a:extLst>
          </p:cNvPr>
          <p:cNvSpPr txBox="1"/>
          <p:nvPr/>
        </p:nvSpPr>
        <p:spPr bwMode="gray">
          <a:xfrm>
            <a:off x="996837" y="4351706"/>
            <a:ext cx="1949563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as autonome Auto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E981A55A-1A2E-419E-917D-1D4C6FA2C5C6}"/>
              </a:ext>
            </a:extLst>
          </p:cNvPr>
          <p:cNvCxnSpPr>
            <a:cxnSpLocks/>
            <a:endCxn id="7" idx="4"/>
          </p:cNvCxnSpPr>
          <p:nvPr/>
        </p:nvCxnSpPr>
        <p:spPr>
          <a:xfrm flipV="1">
            <a:off x="2952756" y="4209193"/>
            <a:ext cx="2455839" cy="35127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29684186-439E-4584-AA8C-72E65414917A}"/>
              </a:ext>
            </a:extLst>
          </p:cNvPr>
          <p:cNvSpPr/>
          <p:nvPr/>
        </p:nvSpPr>
        <p:spPr bwMode="gray">
          <a:xfrm>
            <a:off x="5247230" y="3837962"/>
            <a:ext cx="322729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BCC3160-7A9F-40D1-B2FF-8EA30ACB7A09}"/>
              </a:ext>
            </a:extLst>
          </p:cNvPr>
          <p:cNvSpPr/>
          <p:nvPr/>
        </p:nvSpPr>
        <p:spPr bwMode="gray">
          <a:xfrm>
            <a:off x="5238265" y="3011186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0DC0767-1DD9-4B08-967A-32F139A053B3}"/>
              </a:ext>
            </a:extLst>
          </p:cNvPr>
          <p:cNvCxnSpPr>
            <a:cxnSpLocks/>
            <a:stCxn id="14" idx="3"/>
            <a:endCxn id="12" idx="1"/>
          </p:cNvCxnSpPr>
          <p:nvPr/>
        </p:nvCxnSpPr>
        <p:spPr>
          <a:xfrm>
            <a:off x="3559566" y="1757238"/>
            <a:ext cx="1755257" cy="1308314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4D9F05F-1B9D-4755-84AE-1E2F233D3350}"/>
              </a:ext>
            </a:extLst>
          </p:cNvPr>
          <p:cNvSpPr txBox="1"/>
          <p:nvPr/>
        </p:nvSpPr>
        <p:spPr bwMode="gray">
          <a:xfrm>
            <a:off x="871087" y="1571622"/>
            <a:ext cx="2688479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Andere Verkehrsteilnehmer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6844E649-C093-410C-AFFF-5C9D8CAB6ADD}"/>
              </a:ext>
            </a:extLst>
          </p:cNvPr>
          <p:cNvSpPr/>
          <p:nvPr/>
        </p:nvSpPr>
        <p:spPr bwMode="gray">
          <a:xfrm>
            <a:off x="4819536" y="3639919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BFE5E08-D7EF-401B-A0DD-7767F30B602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3559566" y="1757237"/>
            <a:ext cx="1336528" cy="193704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168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EDA8F5-03DB-4D8A-A360-FF4B1C6BC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Echte Welt mit unserem Workshop</a:t>
            </a:r>
            <a:br>
              <a:rPr lang="de-DE" dirty="0"/>
            </a:br>
            <a:r>
              <a:rPr lang="de-DE" sz="2000" dirty="0"/>
              <a:t>„Wow“-Effekt für die Schüler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930A764-4D46-4D58-B898-E279E407DA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87510"/>
            <a:ext cx="10872000" cy="15180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as „autonome </a:t>
            </a:r>
            <a:r>
              <a:rPr lang="de-DE" b="0" dirty="0" err="1"/>
              <a:t>Calliope</a:t>
            </a:r>
            <a:r>
              <a:rPr lang="de-DE" b="0" dirty="0"/>
              <a:t>-Auto“ hat im Vergleich mit der Realität nur wenig Komplexität zu bewältigen (lin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2"/>
                </a:solidFill>
              </a:rPr>
              <a:t>Aber die Grundprinzipien der KI – maschinelles Lernen – sind genau die gleich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ie KI-Ingenieure bei den Autokonzernen machen prinzipiell nichts anderes, müssen dabei „nur“ eine „etwas“ höhere Komplexität bewältigen (siehe Foto rechts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474688-BFB8-41AC-94D0-16AAE00118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047998" y="5830888"/>
            <a:ext cx="5148000" cy="324462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6975DB-61E1-4097-A3A5-E5D984788E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211" y="3035174"/>
            <a:ext cx="1803743" cy="137428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BA56EF-FAB0-4908-B4B9-56295653B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2705" y="4356554"/>
            <a:ext cx="1806710" cy="40149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F25292D-DF81-4760-96FF-22DE07EFDFAB}"/>
              </a:ext>
            </a:extLst>
          </p:cNvPr>
          <p:cNvSpPr txBox="1"/>
          <p:nvPr/>
        </p:nvSpPr>
        <p:spPr bwMode="gray">
          <a:xfrm>
            <a:off x="82390" y="303517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as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  <a:br>
              <a:rPr lang="de-DE" sz="2000" dirty="0"/>
            </a:br>
            <a:r>
              <a:rPr lang="de-DE" sz="2000" dirty="0"/>
              <a:t>sieht </a:t>
            </a:r>
            <a:r>
              <a:rPr lang="de-DE" sz="2000" b="1" u="sng" dirty="0"/>
              <a:t>das hier </a:t>
            </a:r>
            <a:r>
              <a:rPr lang="de-DE" sz="2000" dirty="0"/>
              <a:t>vor sich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C4E5A19-FA2B-402F-8DE7-5CDF7155B69C}"/>
              </a:ext>
            </a:extLst>
          </p:cNvPr>
          <p:cNvSpPr txBox="1"/>
          <p:nvPr/>
        </p:nvSpPr>
        <p:spPr bwMode="gray">
          <a:xfrm>
            <a:off x="4568892" y="281405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Ein echtes Auto</a:t>
            </a:r>
            <a:br>
              <a:rPr lang="de-DE" sz="2000" dirty="0"/>
            </a:br>
            <a:r>
              <a:rPr lang="de-DE" sz="2000" dirty="0"/>
              <a:t>sieht sowas vor sich:</a:t>
            </a:r>
          </a:p>
        </p:txBody>
      </p:sp>
      <p:pic>
        <p:nvPicPr>
          <p:cNvPr id="104450" name="Picture 2" descr="RiffReporter: Konflikte auf RÃ¤dern">
            <a:extLst>
              <a:ext uri="{FF2B5EF4-FFF2-40B4-BE49-F238E27FC236}">
                <a16:creationId xmlns:a16="http://schemas.microsoft.com/office/drawing/2014/main" id="{5628489E-F7B5-4714-A098-79E2908D8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728" y="2913529"/>
            <a:ext cx="4385271" cy="291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57FD12D3-6A2C-49DB-8F6E-3012164209AE}"/>
              </a:ext>
            </a:extLst>
          </p:cNvPr>
          <p:cNvSpPr/>
          <p:nvPr/>
        </p:nvSpPr>
        <p:spPr bwMode="gray">
          <a:xfrm>
            <a:off x="3667061" y="4149951"/>
            <a:ext cx="387714" cy="804096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01A3A75-1CEF-4065-8EA3-1208427C6906}"/>
              </a:ext>
            </a:extLst>
          </p:cNvPr>
          <p:cNvSpPr txBox="1"/>
          <p:nvPr/>
        </p:nvSpPr>
        <p:spPr bwMode="gray">
          <a:xfrm>
            <a:off x="3625264" y="4924481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ieser Pixel hier ist das</a:t>
            </a:r>
            <a:br>
              <a:rPr lang="de-DE" sz="2000" dirty="0"/>
            </a:br>
            <a:r>
              <a:rPr lang="de-DE" sz="2000" dirty="0"/>
              <a:t>steuerbare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</a:p>
        </p:txBody>
      </p:sp>
    </p:spTree>
    <p:extLst>
      <p:ext uri="{BB962C8B-B14F-4D97-AF65-F5344CB8AC3E}">
        <p14:creationId xmlns:p14="http://schemas.microsoft.com/office/powerpoint/2010/main" val="4098321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8300C-65A1-424B-954E-885E89E5C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 des </a:t>
            </a:r>
            <a:r>
              <a:rPr lang="de-DE" dirty="0" err="1"/>
              <a:t>Calliope</a:t>
            </a:r>
            <a:r>
              <a:rPr lang="de-DE" dirty="0"/>
              <a:t>-Autorennspiels</a:t>
            </a:r>
            <a:br>
              <a:rPr lang="de-DE" dirty="0"/>
            </a:br>
            <a:r>
              <a:rPr lang="de-DE" dirty="0"/>
              <a:t>mit künstlichem Neuronalen Net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7241F9-848E-47D8-956E-023A8FD9AA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0D7860-8D35-4222-A4EE-6480E3F4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075" y="1299631"/>
            <a:ext cx="8058389" cy="4532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354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LernProzess</a:t>
            </a:r>
            <a:r>
              <a:rPr lang="de-DE" dirty="0"/>
              <a:t> für das „autonome </a:t>
            </a:r>
            <a:r>
              <a:rPr lang="de-DE" dirty="0" err="1"/>
              <a:t>Calliope</a:t>
            </a:r>
            <a:r>
              <a:rPr lang="de-DE" dirty="0"/>
              <a:t>-Auto“</a:t>
            </a:r>
            <a:br>
              <a:rPr lang="de-DE" dirty="0"/>
            </a:br>
            <a:r>
              <a:rPr lang="de-DE" sz="1800" dirty="0"/>
              <a:t>Verknüpfung von klassischer </a:t>
            </a:r>
            <a:r>
              <a:rPr lang="de-DE" sz="1800" dirty="0" err="1"/>
              <a:t>programmierung</a:t>
            </a:r>
            <a:r>
              <a:rPr lang="de-DE" sz="1800" dirty="0"/>
              <a:t> mit maschinellem Lern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267412" y="3751747"/>
            <a:ext cx="3251200" cy="98437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18612" y="3759283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673531" y="3762199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C433627-1C6D-4AD8-87A8-75E5CC8E784E}"/>
              </a:ext>
            </a:extLst>
          </p:cNvPr>
          <p:cNvSpPr txBox="1"/>
          <p:nvPr/>
        </p:nvSpPr>
        <p:spPr bwMode="gray">
          <a:xfrm>
            <a:off x="1202387" y="3352534"/>
            <a:ext cx="3080653" cy="3992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Trainingsdaten und gewünschte Ausgabe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erzeugen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E0957E2F-ED7B-425A-A7AB-576A0C1A82C8}"/>
              </a:ext>
            </a:extLst>
          </p:cNvPr>
          <p:cNvSpPr txBox="1"/>
          <p:nvPr/>
        </p:nvSpPr>
        <p:spPr bwMode="gray">
          <a:xfrm>
            <a:off x="4518612" y="332608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Programm erstellen mittels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Algorithmus für maschinelles Lerne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745331C8-6BBD-48FD-872C-3CCDD6DAD63F}"/>
              </a:ext>
            </a:extLst>
          </p:cNvPr>
          <p:cNvSpPr txBox="1"/>
          <p:nvPr/>
        </p:nvSpPr>
        <p:spPr bwMode="gray">
          <a:xfrm>
            <a:off x="7641145" y="3500217"/>
            <a:ext cx="2694445" cy="31580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Angelerntes Programm ausführen</a:t>
            </a:r>
          </a:p>
        </p:txBody>
      </p:sp>
      <p:sp>
        <p:nvSpPr>
          <p:cNvPr id="140" name="Pfeil: Chevron 139">
            <a:extLst>
              <a:ext uri="{FF2B5EF4-FFF2-40B4-BE49-F238E27FC236}">
                <a16:creationId xmlns:a16="http://schemas.microsoft.com/office/drawing/2014/main" id="{66313DFE-4AE1-4902-843E-4310A40789ED}"/>
              </a:ext>
            </a:extLst>
          </p:cNvPr>
          <p:cNvSpPr/>
          <p:nvPr/>
        </p:nvSpPr>
        <p:spPr bwMode="gray">
          <a:xfrm>
            <a:off x="1244118" y="4801604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rainingsdaten sammeln</a:t>
            </a:r>
          </a:p>
        </p:txBody>
      </p:sp>
      <p:sp>
        <p:nvSpPr>
          <p:cNvPr id="141" name="Pfeil: Chevron 140">
            <a:extLst>
              <a:ext uri="{FF2B5EF4-FFF2-40B4-BE49-F238E27FC236}">
                <a16:creationId xmlns:a16="http://schemas.microsoft.com/office/drawing/2014/main" id="{A7B59FD2-32FB-4D15-ABD7-A2E21C289309}"/>
              </a:ext>
            </a:extLst>
          </p:cNvPr>
          <p:cNvSpPr/>
          <p:nvPr/>
        </p:nvSpPr>
        <p:spPr bwMode="gray">
          <a:xfrm>
            <a:off x="4495318" y="4801603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trainieren</a:t>
            </a:r>
          </a:p>
        </p:txBody>
      </p:sp>
      <p:sp>
        <p:nvSpPr>
          <p:cNvPr id="142" name="Pfeil: Chevron 141">
            <a:extLst>
              <a:ext uri="{FF2B5EF4-FFF2-40B4-BE49-F238E27FC236}">
                <a16:creationId xmlns:a16="http://schemas.microsoft.com/office/drawing/2014/main" id="{33F583EA-6510-424E-9016-672B719B0995}"/>
              </a:ext>
            </a:extLst>
          </p:cNvPr>
          <p:cNvSpPr/>
          <p:nvPr/>
        </p:nvSpPr>
        <p:spPr bwMode="gray">
          <a:xfrm>
            <a:off x="7650237" y="4804519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anwenden und testen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20967A-5330-466D-8855-E84B49E70503}"/>
              </a:ext>
            </a:extLst>
          </p:cNvPr>
          <p:cNvSpPr txBox="1"/>
          <p:nvPr/>
        </p:nvSpPr>
        <p:spPr bwMode="gray">
          <a:xfrm>
            <a:off x="178747" y="386716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Anwendungs-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DA67EBDA-4C26-47F2-B0C8-24A10EE646E8}"/>
              </a:ext>
            </a:extLst>
          </p:cNvPr>
          <p:cNvSpPr txBox="1"/>
          <p:nvPr/>
        </p:nvSpPr>
        <p:spPr bwMode="gray">
          <a:xfrm>
            <a:off x="178747" y="489322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Technische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BDF8AB3-DDBB-4A4A-B25C-7E6A72DC9224}"/>
              </a:ext>
            </a:extLst>
          </p:cNvPr>
          <p:cNvSpPr txBox="1"/>
          <p:nvPr/>
        </p:nvSpPr>
        <p:spPr bwMode="gray">
          <a:xfrm>
            <a:off x="1571879" y="1528738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48CDA23-ADE5-410B-99C8-732CE483F147}"/>
              </a:ext>
            </a:extLst>
          </p:cNvPr>
          <p:cNvSpPr txBox="1"/>
          <p:nvPr/>
        </p:nvSpPr>
        <p:spPr bwMode="gray">
          <a:xfrm>
            <a:off x="1173654" y="193016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0A8C72C-A19A-4049-A927-AEC2E9B685D4}"/>
              </a:ext>
            </a:extLst>
          </p:cNvPr>
          <p:cNvSpPr txBox="1"/>
          <p:nvPr/>
        </p:nvSpPr>
        <p:spPr bwMode="gray">
          <a:xfrm>
            <a:off x="5431822" y="1697478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5A29C97-B21E-4644-9E58-32DAC5078BA0}"/>
              </a:ext>
            </a:extLst>
          </p:cNvPr>
          <p:cNvSpPr/>
          <p:nvPr/>
        </p:nvSpPr>
        <p:spPr bwMode="gray">
          <a:xfrm>
            <a:off x="3519033" y="1466774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422BA48-37AC-40F1-B71D-75704924FD9C}"/>
              </a:ext>
            </a:extLst>
          </p:cNvPr>
          <p:cNvCxnSpPr/>
          <p:nvPr/>
        </p:nvCxnSpPr>
        <p:spPr>
          <a:xfrm>
            <a:off x="3011806" y="2715245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7DCAEAC-F856-44EA-8568-A8D881A2FD09}"/>
              </a:ext>
            </a:extLst>
          </p:cNvPr>
          <p:cNvSpPr txBox="1"/>
          <p:nvPr/>
        </p:nvSpPr>
        <p:spPr bwMode="gray">
          <a:xfrm>
            <a:off x="1153315" y="254348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4340A2FD-5B54-4537-BF6B-310F58611A63}"/>
              </a:ext>
            </a:extLst>
          </p:cNvPr>
          <p:cNvCxnSpPr/>
          <p:nvPr/>
        </p:nvCxnSpPr>
        <p:spPr>
          <a:xfrm>
            <a:off x="3011806" y="2104320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66E2674-58C3-4BD1-95BC-4549ADC97B7F}"/>
              </a:ext>
            </a:extLst>
          </p:cNvPr>
          <p:cNvCxnSpPr/>
          <p:nvPr/>
        </p:nvCxnSpPr>
        <p:spPr>
          <a:xfrm>
            <a:off x="3011805" y="1713802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D35D310-546E-4828-9513-7C1B3BC74CBD}"/>
              </a:ext>
            </a:extLst>
          </p:cNvPr>
          <p:cNvCxnSpPr>
            <a:cxnSpLocks/>
          </p:cNvCxnSpPr>
          <p:nvPr/>
        </p:nvCxnSpPr>
        <p:spPr>
          <a:xfrm>
            <a:off x="5021943" y="1849402"/>
            <a:ext cx="437323" cy="750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E9D568E-0856-4B02-BD68-8E28C785FD5D}"/>
              </a:ext>
            </a:extLst>
          </p:cNvPr>
          <p:cNvSpPr txBox="1"/>
          <p:nvPr/>
        </p:nvSpPr>
        <p:spPr bwMode="gray">
          <a:xfrm>
            <a:off x="5455675" y="129391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6B59A0-9454-40CD-B5F8-DE3B4CD6B33F}"/>
              </a:ext>
            </a:extLst>
          </p:cNvPr>
          <p:cNvSpPr txBox="1"/>
          <p:nvPr/>
        </p:nvSpPr>
        <p:spPr bwMode="gray">
          <a:xfrm>
            <a:off x="5431822" y="168598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5FDECB7-011C-4E5D-8827-DE9AD819C449}"/>
              </a:ext>
            </a:extLst>
          </p:cNvPr>
          <p:cNvSpPr txBox="1"/>
          <p:nvPr/>
        </p:nvSpPr>
        <p:spPr bwMode="gray">
          <a:xfrm>
            <a:off x="8846783" y="144780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37A8042-DB4F-471B-B2C7-0B08CA466FF3}"/>
              </a:ext>
            </a:extLst>
          </p:cNvPr>
          <p:cNvSpPr/>
          <p:nvPr/>
        </p:nvSpPr>
        <p:spPr bwMode="gray">
          <a:xfrm>
            <a:off x="6894863" y="116597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  <a:endParaRPr lang="de-DE" sz="1800" dirty="0">
              <a:cs typeface="Arial" charset="0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611C172-BBBD-446F-A42D-69AB5B3FBD87}"/>
              </a:ext>
            </a:extLst>
          </p:cNvPr>
          <p:cNvCxnSpPr/>
          <p:nvPr/>
        </p:nvCxnSpPr>
        <p:spPr>
          <a:xfrm>
            <a:off x="6405471" y="186530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A73189ED-5744-4EA9-B786-C394E7A64770}"/>
              </a:ext>
            </a:extLst>
          </p:cNvPr>
          <p:cNvCxnSpPr/>
          <p:nvPr/>
        </p:nvCxnSpPr>
        <p:spPr>
          <a:xfrm>
            <a:off x="6413423" y="146698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40C2975-4457-4C87-A13B-9F8EC4BBABFA}"/>
              </a:ext>
            </a:extLst>
          </p:cNvPr>
          <p:cNvCxnSpPr>
            <a:cxnSpLocks/>
            <a:endCxn id="31" idx="1"/>
          </p:cNvCxnSpPr>
          <p:nvPr/>
        </p:nvCxnSpPr>
        <p:spPr>
          <a:xfrm>
            <a:off x="8405610" y="159975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214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>
            <a:extLst>
              <a:ext uri="{FF2B5EF4-FFF2-40B4-BE49-F238E27FC236}">
                <a16:creationId xmlns:a16="http://schemas.microsoft.com/office/drawing/2014/main" id="{D5F9BB6A-714B-4FCB-907B-852BBCD4F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342" y="3235609"/>
            <a:ext cx="867526" cy="396332"/>
          </a:xfrm>
          <a:prstGeom prst="rect">
            <a:avLst/>
          </a:prstGeom>
        </p:spPr>
      </p:pic>
      <p:pic>
        <p:nvPicPr>
          <p:cNvPr id="4" name="Grafik 3" descr="Laptop">
            <a:extLst>
              <a:ext uri="{FF2B5EF4-FFF2-40B4-BE49-F238E27FC236}">
                <a16:creationId xmlns:a16="http://schemas.microsoft.com/office/drawing/2014/main" id="{33BC3A97-2155-41AE-8F28-458C6191FF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73931" y="3188127"/>
            <a:ext cx="1311793" cy="1311793"/>
          </a:xfrm>
          <a:prstGeom prst="rect">
            <a:avLst/>
          </a:prstGeom>
        </p:spPr>
      </p:pic>
      <p:pic>
        <p:nvPicPr>
          <p:cNvPr id="67" name="Grafik 66" descr="Laptop">
            <a:extLst>
              <a:ext uri="{FF2B5EF4-FFF2-40B4-BE49-F238E27FC236}">
                <a16:creationId xmlns:a16="http://schemas.microsoft.com/office/drawing/2014/main" id="{6E3C1535-7B39-45E6-9F7B-6CFE4DEFE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7030" y="2147745"/>
            <a:ext cx="2218678" cy="22186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400" dirty="0"/>
              <a:t>Unser Projekt unterstützt mehrere Varianten für</a:t>
            </a:r>
            <a:br>
              <a:rPr lang="de-DE" sz="2400" dirty="0"/>
            </a:br>
            <a:r>
              <a:rPr lang="de-DE" sz="2400" dirty="0"/>
              <a:t>Den </a:t>
            </a:r>
            <a:r>
              <a:rPr lang="de-DE" sz="2400" dirty="0" err="1"/>
              <a:t>LernProzess</a:t>
            </a:r>
            <a:r>
              <a:rPr lang="de-DE" sz="2400" dirty="0"/>
              <a:t> des „autonomen </a:t>
            </a:r>
            <a:r>
              <a:rPr lang="de-DE" sz="2400" dirty="0" err="1"/>
              <a:t>Calliope</a:t>
            </a:r>
            <a:r>
              <a:rPr lang="de-DE" sz="2400" dirty="0"/>
              <a:t>-Autos“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562707" y="1231991"/>
            <a:ext cx="3008082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00438" y="1231990"/>
            <a:ext cx="3564669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968826" y="1234906"/>
            <a:ext cx="3251200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FC7FAEEC-D67E-407E-9863-7C8951FD0A71}"/>
              </a:ext>
            </a:extLst>
          </p:cNvPr>
          <p:cNvSpPr/>
          <p:nvPr/>
        </p:nvSpPr>
        <p:spPr>
          <a:xfrm>
            <a:off x="1070886" y="4610955"/>
            <a:ext cx="235328" cy="937846"/>
          </a:xfrm>
          <a:prstGeom prst="leftBrace">
            <a:avLst>
              <a:gd name="adj1" fmla="val 8333"/>
              <a:gd name="adj2" fmla="val 38978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5413388A-2CBD-4C40-9F28-7DDF52B7527C}"/>
              </a:ext>
            </a:extLst>
          </p:cNvPr>
          <p:cNvSpPr/>
          <p:nvPr/>
        </p:nvSpPr>
        <p:spPr>
          <a:xfrm>
            <a:off x="1054387" y="2311731"/>
            <a:ext cx="262513" cy="2054692"/>
          </a:xfrm>
          <a:prstGeom prst="leftBrace">
            <a:avLst>
              <a:gd name="adj1" fmla="val 8333"/>
              <a:gd name="adj2" fmla="val 31812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0907346-240B-4EF6-9C24-9C970C48479B}"/>
              </a:ext>
            </a:extLst>
          </p:cNvPr>
          <p:cNvSpPr txBox="1"/>
          <p:nvPr/>
        </p:nvSpPr>
        <p:spPr bwMode="gray">
          <a:xfrm>
            <a:off x="2949998" y="3259710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pic>
        <p:nvPicPr>
          <p:cNvPr id="51" name="Picture 4" descr="Logo">
            <a:extLst>
              <a:ext uri="{FF2B5EF4-FFF2-40B4-BE49-F238E27FC236}">
                <a16:creationId xmlns:a16="http://schemas.microsoft.com/office/drawing/2014/main" id="{2B1E60A7-F7C6-42DE-867E-31022C48E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384" y="2839416"/>
            <a:ext cx="867526" cy="31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9F5CEC57-EA2D-4DFE-A82B-3191220C25CB}"/>
              </a:ext>
            </a:extLst>
          </p:cNvPr>
          <p:cNvSpPr txBox="1"/>
          <p:nvPr/>
        </p:nvSpPr>
        <p:spPr bwMode="gray">
          <a:xfrm>
            <a:off x="5717880" y="389318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esktop-Rechner für Anlern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künstliche neuronale Netzwerke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und auch andere KI-Algorithmen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285D29B4-2284-49BD-9428-BB6B3190A351}"/>
              </a:ext>
            </a:extLst>
          </p:cNvPr>
          <p:cNvSpPr txBox="1"/>
          <p:nvPr/>
        </p:nvSpPr>
        <p:spPr bwMode="gray">
          <a:xfrm>
            <a:off x="75643" y="4783194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2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C6742EB-57E5-437E-8A19-1AF2D01FB25E}"/>
              </a:ext>
            </a:extLst>
          </p:cNvPr>
          <p:cNvSpPr txBox="1"/>
          <p:nvPr/>
        </p:nvSpPr>
        <p:spPr bwMode="gray">
          <a:xfrm>
            <a:off x="75643" y="2774406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1A &amp; 1B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C25E429-2539-49C4-82B5-2750BB32986E}"/>
              </a:ext>
            </a:extLst>
          </p:cNvPr>
          <p:cNvSpPr txBox="1"/>
          <p:nvPr/>
        </p:nvSpPr>
        <p:spPr bwMode="gray">
          <a:xfrm>
            <a:off x="10148737" y="3545741"/>
            <a:ext cx="1164485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 auf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esktop-Rechner</a:t>
            </a:r>
          </a:p>
        </p:txBody>
      </p:sp>
      <p:sp>
        <p:nvSpPr>
          <p:cNvPr id="63" name="Geschweifte Klammer links 62">
            <a:extLst>
              <a:ext uri="{FF2B5EF4-FFF2-40B4-BE49-F238E27FC236}">
                <a16:creationId xmlns:a16="http://schemas.microsoft.com/office/drawing/2014/main" id="{2EED0F4A-3C90-448B-90B2-EE6B2834AB11}"/>
              </a:ext>
            </a:extLst>
          </p:cNvPr>
          <p:cNvSpPr/>
          <p:nvPr/>
        </p:nvSpPr>
        <p:spPr>
          <a:xfrm>
            <a:off x="8611836" y="2311731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Geschweifte Klammer links 63">
            <a:extLst>
              <a:ext uri="{FF2B5EF4-FFF2-40B4-BE49-F238E27FC236}">
                <a16:creationId xmlns:a16="http://schemas.microsoft.com/office/drawing/2014/main" id="{E54D77B8-C833-4F86-8D97-F55C06818630}"/>
              </a:ext>
            </a:extLst>
          </p:cNvPr>
          <p:cNvSpPr/>
          <p:nvPr/>
        </p:nvSpPr>
        <p:spPr>
          <a:xfrm>
            <a:off x="8611836" y="3327930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1DFFFB5A-CFDE-4940-BBEA-3A6936893C73}"/>
              </a:ext>
            </a:extLst>
          </p:cNvPr>
          <p:cNvSpPr txBox="1"/>
          <p:nvPr/>
        </p:nvSpPr>
        <p:spPr bwMode="gray">
          <a:xfrm>
            <a:off x="8193558" y="2587011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A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0720A5F0-D63A-43DB-A993-BB9612775F76}"/>
              </a:ext>
            </a:extLst>
          </p:cNvPr>
          <p:cNvSpPr txBox="1"/>
          <p:nvPr/>
        </p:nvSpPr>
        <p:spPr bwMode="gray">
          <a:xfrm>
            <a:off x="8213857" y="3616753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B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B99B9D8-EB6A-4C6F-A8FC-9816DC4B6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6107" y="3632810"/>
            <a:ext cx="334542" cy="309761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8F4A20A7-A971-478F-BE71-ED4AF22DA5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7071" y="4778689"/>
            <a:ext cx="547020" cy="506500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B186954F-C5C6-46DA-80BF-D4DEDDDB8376}"/>
              </a:ext>
            </a:extLst>
          </p:cNvPr>
          <p:cNvGrpSpPr/>
          <p:nvPr/>
        </p:nvGrpSpPr>
        <p:grpSpPr>
          <a:xfrm>
            <a:off x="3628209" y="2694263"/>
            <a:ext cx="636087" cy="544347"/>
            <a:chOff x="3319383" y="4051887"/>
            <a:chExt cx="636087" cy="544347"/>
          </a:xfrm>
        </p:grpSpPr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E4A68551-5589-4862-8B1B-3FDA5789F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880C57D6-87E3-4372-88FB-BB28C1D3A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2" name="Grafik 81">
              <a:extLst>
                <a:ext uri="{FF2B5EF4-FFF2-40B4-BE49-F238E27FC236}">
                  <a16:creationId xmlns:a16="http://schemas.microsoft.com/office/drawing/2014/main" id="{62D32242-42F1-413B-B1BB-F67E3BD6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29CD7E00-5CD2-423A-9444-13D7E82ED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9DBA708B-D718-4FDA-9114-E412DEA61102}"/>
              </a:ext>
            </a:extLst>
          </p:cNvPr>
          <p:cNvGrpSpPr/>
          <p:nvPr/>
        </p:nvGrpSpPr>
        <p:grpSpPr>
          <a:xfrm>
            <a:off x="2974002" y="2698274"/>
            <a:ext cx="636087" cy="544347"/>
            <a:chOff x="3319383" y="4051887"/>
            <a:chExt cx="636087" cy="544347"/>
          </a:xfrm>
        </p:grpSpPr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425ADDE7-719A-45A3-B1F5-1CB3A71A7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6" name="Grafik 85">
              <a:extLst>
                <a:ext uri="{FF2B5EF4-FFF2-40B4-BE49-F238E27FC236}">
                  <a16:creationId xmlns:a16="http://schemas.microsoft.com/office/drawing/2014/main" id="{0AC5A828-0719-4216-A07C-B86E5BCDA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7" name="Grafik 86">
              <a:extLst>
                <a:ext uri="{FF2B5EF4-FFF2-40B4-BE49-F238E27FC236}">
                  <a16:creationId xmlns:a16="http://schemas.microsoft.com/office/drawing/2014/main" id="{FAD7DAF1-2C47-4FFB-8209-F5253D4FA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893BBB77-2F7A-483F-B15B-DD7F4AA0A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93364083-C4F3-4959-8B92-9A04F2DB10C4}"/>
              </a:ext>
            </a:extLst>
          </p:cNvPr>
          <p:cNvGrpSpPr/>
          <p:nvPr/>
        </p:nvGrpSpPr>
        <p:grpSpPr>
          <a:xfrm>
            <a:off x="9629827" y="3626373"/>
            <a:ext cx="368438" cy="324462"/>
            <a:chOff x="3319383" y="4051887"/>
            <a:chExt cx="636087" cy="544347"/>
          </a:xfrm>
        </p:grpSpPr>
        <p:pic>
          <p:nvPicPr>
            <p:cNvPr id="120" name="Grafik 119">
              <a:extLst>
                <a:ext uri="{FF2B5EF4-FFF2-40B4-BE49-F238E27FC236}">
                  <a16:creationId xmlns:a16="http://schemas.microsoft.com/office/drawing/2014/main" id="{6183865E-0D26-498C-B318-BB8E3763F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21" name="Grafik 120">
              <a:extLst>
                <a:ext uri="{FF2B5EF4-FFF2-40B4-BE49-F238E27FC236}">
                  <a16:creationId xmlns:a16="http://schemas.microsoft.com/office/drawing/2014/main" id="{A295D3EE-1E42-4510-A640-3CD9E4291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22" name="Grafik 121">
              <a:extLst>
                <a:ext uri="{FF2B5EF4-FFF2-40B4-BE49-F238E27FC236}">
                  <a16:creationId xmlns:a16="http://schemas.microsoft.com/office/drawing/2014/main" id="{BFEB946D-9D7E-4517-94E2-5852FED2A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6CE05C85-7C5C-4F56-ADA4-2B5977C6A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26" name="Textfeld 125">
            <a:extLst>
              <a:ext uri="{FF2B5EF4-FFF2-40B4-BE49-F238E27FC236}">
                <a16:creationId xmlns:a16="http://schemas.microsoft.com/office/drawing/2014/main" id="{585278EB-CD9A-4D83-A898-DF869B0EA7C7}"/>
              </a:ext>
            </a:extLst>
          </p:cNvPr>
          <p:cNvSpPr txBox="1"/>
          <p:nvPr/>
        </p:nvSpPr>
        <p:spPr bwMode="gray">
          <a:xfrm>
            <a:off x="5637301" y="473327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Zusätzlich zur Datensammlung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Lernt der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r>
              <a:rPr lang="de-DE" sz="1200" b="1" dirty="0">
                <a:solidFill>
                  <a:schemeClr val="tx2"/>
                </a:solidFill>
              </a:rPr>
              <a:t> ein eigenes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künstliches neuronales Netzwerk an</a:t>
            </a:r>
          </a:p>
        </p:txBody>
      </p:sp>
      <p:pic>
        <p:nvPicPr>
          <p:cNvPr id="124" name="Grafik 123">
            <a:extLst>
              <a:ext uri="{FF2B5EF4-FFF2-40B4-BE49-F238E27FC236}">
                <a16:creationId xmlns:a16="http://schemas.microsoft.com/office/drawing/2014/main" id="{EF786CEE-045A-42C1-B2BB-93169EE191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9876" y="2694263"/>
            <a:ext cx="547020" cy="506500"/>
          </a:xfrm>
          <a:prstGeom prst="rect">
            <a:avLst/>
          </a:prstGeom>
        </p:spPr>
      </p:pic>
      <p:sp>
        <p:nvSpPr>
          <p:cNvPr id="125" name="Textfeld 124">
            <a:extLst>
              <a:ext uri="{FF2B5EF4-FFF2-40B4-BE49-F238E27FC236}">
                <a16:creationId xmlns:a16="http://schemas.microsoft.com/office/drawing/2014/main" id="{C06E535F-A1C0-4037-97E8-32E6880B36CE}"/>
              </a:ext>
            </a:extLst>
          </p:cNvPr>
          <p:cNvSpPr txBox="1"/>
          <p:nvPr/>
        </p:nvSpPr>
        <p:spPr bwMode="gray">
          <a:xfrm>
            <a:off x="4670317" y="3181218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(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)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5FACE383-60C8-438C-AB30-A8D0F4894794}"/>
              </a:ext>
            </a:extLst>
          </p:cNvPr>
          <p:cNvSpPr txBox="1"/>
          <p:nvPr/>
        </p:nvSpPr>
        <p:spPr bwMode="gray">
          <a:xfrm>
            <a:off x="1417049" y="326720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28" name="Grafik 127">
            <a:extLst>
              <a:ext uri="{FF2B5EF4-FFF2-40B4-BE49-F238E27FC236}">
                <a16:creationId xmlns:a16="http://schemas.microsoft.com/office/drawing/2014/main" id="{63E6EDA0-3A4A-4FBE-91E6-F5AF3691A5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3657" y="2710761"/>
            <a:ext cx="547020" cy="50650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97F5B70E-C2F6-42F9-8F38-7E37ECF43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4565" y="2710761"/>
            <a:ext cx="547020" cy="506500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C83689EF-B08B-4246-A32D-8228EC85915E}"/>
              </a:ext>
            </a:extLst>
          </p:cNvPr>
          <p:cNvSpPr txBox="1"/>
          <p:nvPr/>
        </p:nvSpPr>
        <p:spPr bwMode="gray">
          <a:xfrm>
            <a:off x="2531832" y="2854625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42B5E637-4E55-4BDE-A34F-A8BC758B3CDE}"/>
              </a:ext>
            </a:extLst>
          </p:cNvPr>
          <p:cNvGrpSpPr/>
          <p:nvPr/>
        </p:nvGrpSpPr>
        <p:grpSpPr>
          <a:xfrm>
            <a:off x="3601221" y="4718320"/>
            <a:ext cx="636087" cy="544347"/>
            <a:chOff x="3319383" y="4051887"/>
            <a:chExt cx="636087" cy="544347"/>
          </a:xfrm>
        </p:grpSpPr>
        <p:pic>
          <p:nvPicPr>
            <p:cNvPr id="136" name="Grafik 135">
              <a:extLst>
                <a:ext uri="{FF2B5EF4-FFF2-40B4-BE49-F238E27FC236}">
                  <a16:creationId xmlns:a16="http://schemas.microsoft.com/office/drawing/2014/main" id="{BFED090D-FE50-46B7-B14F-AFEDCFD97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A1271AE7-4EF7-4E63-9575-C6277646A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368B50F6-8BB8-4693-818F-656AE8A93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D6C94B31-BC89-4A61-9B06-C67D9DB51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8CD29CFC-2FD7-4398-B423-0C5351294C18}"/>
              </a:ext>
            </a:extLst>
          </p:cNvPr>
          <p:cNvGrpSpPr/>
          <p:nvPr/>
        </p:nvGrpSpPr>
        <p:grpSpPr>
          <a:xfrm>
            <a:off x="2947014" y="4722331"/>
            <a:ext cx="636087" cy="544347"/>
            <a:chOff x="3319383" y="4051887"/>
            <a:chExt cx="636087" cy="544347"/>
          </a:xfrm>
        </p:grpSpPr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87F9D2CA-FED4-498E-89F4-93687E655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678A997E-0CCE-4B74-A3ED-7DE4E399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43" name="Grafik 142">
              <a:extLst>
                <a:ext uri="{FF2B5EF4-FFF2-40B4-BE49-F238E27FC236}">
                  <a16:creationId xmlns:a16="http://schemas.microsoft.com/office/drawing/2014/main" id="{9DAA2F2D-F7FD-427A-9CF0-E8D8C4219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FA131166-3F10-458E-9CC0-13824850A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45" name="Textfeld 144">
            <a:extLst>
              <a:ext uri="{FF2B5EF4-FFF2-40B4-BE49-F238E27FC236}">
                <a16:creationId xmlns:a16="http://schemas.microsoft.com/office/drawing/2014/main" id="{87ED1DB3-658E-4456-8D4B-9002573F15BC}"/>
              </a:ext>
            </a:extLst>
          </p:cNvPr>
          <p:cNvSpPr txBox="1"/>
          <p:nvPr/>
        </p:nvSpPr>
        <p:spPr bwMode="gray">
          <a:xfrm>
            <a:off x="1390061" y="5291259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46" name="Grafik 145">
            <a:extLst>
              <a:ext uri="{FF2B5EF4-FFF2-40B4-BE49-F238E27FC236}">
                <a16:creationId xmlns:a16="http://schemas.microsoft.com/office/drawing/2014/main" id="{6D57D5D1-A3D3-4D17-A69B-47AE7D2A7A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6669" y="4734818"/>
            <a:ext cx="547020" cy="506500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92EF1F25-DEFB-4E9D-9171-2694553767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7577" y="4734818"/>
            <a:ext cx="547020" cy="506500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6CB513AA-6D0C-4D54-BD7B-CB6B2AE966DC}"/>
              </a:ext>
            </a:extLst>
          </p:cNvPr>
          <p:cNvSpPr txBox="1"/>
          <p:nvPr/>
        </p:nvSpPr>
        <p:spPr bwMode="gray">
          <a:xfrm>
            <a:off x="2504844" y="487868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3B07F4F7-543C-49A0-9150-AD5EDAB9773D}"/>
              </a:ext>
            </a:extLst>
          </p:cNvPr>
          <p:cNvSpPr txBox="1"/>
          <p:nvPr/>
        </p:nvSpPr>
        <p:spPr bwMode="gray">
          <a:xfrm>
            <a:off x="2936751" y="5291259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83B0F2A8-53A0-4C9F-924F-0CA03CA0B4FE}"/>
              </a:ext>
            </a:extLst>
          </p:cNvPr>
          <p:cNvSpPr txBox="1"/>
          <p:nvPr/>
        </p:nvSpPr>
        <p:spPr bwMode="gray">
          <a:xfrm>
            <a:off x="9671551" y="4851806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51" name="Grafik 150">
            <a:extLst>
              <a:ext uri="{FF2B5EF4-FFF2-40B4-BE49-F238E27FC236}">
                <a16:creationId xmlns:a16="http://schemas.microsoft.com/office/drawing/2014/main" id="{4DEB7BEE-65B1-4600-BDD5-238A25770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4810227"/>
            <a:ext cx="547020" cy="506500"/>
          </a:xfrm>
          <a:prstGeom prst="rect">
            <a:avLst/>
          </a:prstGeom>
        </p:spPr>
      </p:pic>
      <p:sp>
        <p:nvSpPr>
          <p:cNvPr id="155" name="Textfeld 154">
            <a:extLst>
              <a:ext uri="{FF2B5EF4-FFF2-40B4-BE49-F238E27FC236}">
                <a16:creationId xmlns:a16="http://schemas.microsoft.com/office/drawing/2014/main" id="{7667BF56-9BAF-4293-90FE-6B53B2810AB2}"/>
              </a:ext>
            </a:extLst>
          </p:cNvPr>
          <p:cNvSpPr txBox="1"/>
          <p:nvPr/>
        </p:nvSpPr>
        <p:spPr bwMode="gray">
          <a:xfrm>
            <a:off x="4747365" y="5270030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0FCF994-F705-42C7-8D89-03A38BCB0CB1}"/>
              </a:ext>
            </a:extLst>
          </p:cNvPr>
          <p:cNvCxnSpPr/>
          <p:nvPr/>
        </p:nvCxnSpPr>
        <p:spPr>
          <a:xfrm>
            <a:off x="5320541" y="2947210"/>
            <a:ext cx="507765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43E68D58-678D-4D67-AA43-9CEC8AA345C8}"/>
              </a:ext>
            </a:extLst>
          </p:cNvPr>
          <p:cNvSpPr txBox="1"/>
          <p:nvPr/>
        </p:nvSpPr>
        <p:spPr bwMode="gray">
          <a:xfrm>
            <a:off x="7643307" y="2534049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JSON</a:t>
            </a:r>
          </a:p>
        </p:txBody>
      </p: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B1660438-C05D-44F0-A52E-1CCFF6749AB6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7498080" y="2767111"/>
            <a:ext cx="695478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3" name="Textfeld 162">
            <a:extLst>
              <a:ext uri="{FF2B5EF4-FFF2-40B4-BE49-F238E27FC236}">
                <a16:creationId xmlns:a16="http://schemas.microsoft.com/office/drawing/2014/main" id="{D10AAEEA-1351-4C5E-819D-8E960F47C926}"/>
              </a:ext>
            </a:extLst>
          </p:cNvPr>
          <p:cNvSpPr txBox="1"/>
          <p:nvPr/>
        </p:nvSpPr>
        <p:spPr bwMode="gray">
          <a:xfrm>
            <a:off x="9671551" y="2531735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64" name="Grafik 163">
            <a:extLst>
              <a:ext uri="{FF2B5EF4-FFF2-40B4-BE49-F238E27FC236}">
                <a16:creationId xmlns:a16="http://schemas.microsoft.com/office/drawing/2014/main" id="{A379D242-FB14-4B14-B25E-F283C1532A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2490156"/>
            <a:ext cx="547020" cy="50650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F8B1DCC3-43B9-4064-9B10-DD566F2E91B7}"/>
              </a:ext>
            </a:extLst>
          </p:cNvPr>
          <p:cNvSpPr txBox="1"/>
          <p:nvPr/>
        </p:nvSpPr>
        <p:spPr bwMode="gray">
          <a:xfrm>
            <a:off x="5371746" y="2719767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CSV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D4E9FD84-6753-4736-8FCD-874C3D4DCD26}"/>
              </a:ext>
            </a:extLst>
          </p:cNvPr>
          <p:cNvSpPr txBox="1"/>
          <p:nvPr/>
        </p:nvSpPr>
        <p:spPr bwMode="gray">
          <a:xfrm>
            <a:off x="7760940" y="3576874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Pickle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27F21037-F093-4DE5-9E59-75395E6EB5A5}"/>
              </a:ext>
            </a:extLst>
          </p:cNvPr>
          <p:cNvCxnSpPr>
            <a:cxnSpLocks/>
          </p:cNvCxnSpPr>
          <p:nvPr/>
        </p:nvCxnSpPr>
        <p:spPr>
          <a:xfrm>
            <a:off x="7816132" y="3809936"/>
            <a:ext cx="447353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65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4506" y="1209112"/>
            <a:ext cx="8605316" cy="4547723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Deutsche Telekom </a:t>
            </a:r>
            <a:r>
              <a:rPr lang="de-DE" dirty="0" err="1"/>
              <a:t>IT@School</a:t>
            </a:r>
            <a:r>
              <a:rPr lang="de-DE" dirty="0"/>
              <a:t> Projekt „</a:t>
            </a:r>
            <a:r>
              <a:rPr lang="de-DE" dirty="0">
                <a:solidFill>
                  <a:schemeClr val="tx2"/>
                </a:solidFill>
              </a:rPr>
              <a:t>Künstliche Intelligenz (KI) in Schulen</a:t>
            </a:r>
            <a:r>
              <a:rPr lang="de-DE" dirty="0"/>
              <a:t>“ hat ein Workshopformat entwickelt, was Grundkenntnisse zum Thema KI spielerisch vermittel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Geeignet für Mittel- und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Workshopformat kann flexibel angepasst werden an die Situation an einer Schule (Kenntnisstand Lehrkräfte und </a:t>
            </a:r>
            <a:r>
              <a:rPr lang="de-DE" dirty="0" err="1"/>
              <a:t>SuS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basiert auf dem verbreitet verfügbaren Lerncomputer </a:t>
            </a:r>
            <a:r>
              <a:rPr lang="de-DE" dirty="0" err="1">
                <a:solidFill>
                  <a:schemeClr val="tx2"/>
                </a:solidFill>
              </a:rPr>
              <a:t>Calliope</a:t>
            </a:r>
            <a:r>
              <a:rPr lang="de-DE" dirty="0">
                <a:solidFill>
                  <a:schemeClr val="tx2"/>
                </a:solidFill>
              </a:rPr>
              <a:t> Min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eutsche Telekom Anteil ist mit Technologie </a:t>
            </a:r>
            <a:r>
              <a:rPr lang="de-DE" b="1" dirty="0">
                <a:solidFill>
                  <a:schemeClr val="tx2"/>
                </a:solidFill>
              </a:rPr>
              <a:t>Microsoft </a:t>
            </a:r>
            <a:r>
              <a:rPr lang="de-DE" b="1" dirty="0" err="1">
                <a:solidFill>
                  <a:schemeClr val="tx2"/>
                </a:solidFill>
              </a:rPr>
              <a:t>Makecode</a:t>
            </a:r>
            <a:r>
              <a:rPr lang="de-DE" dirty="0"/>
              <a:t> entwickel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ank Kooperation mit dem </a:t>
            </a:r>
            <a:r>
              <a:rPr lang="de-DE" b="1" dirty="0">
                <a:solidFill>
                  <a:schemeClr val="tx2"/>
                </a:solidFill>
              </a:rPr>
              <a:t>Fraunhofer Institut St. Augustin </a:t>
            </a:r>
            <a:r>
              <a:rPr lang="de-DE" dirty="0"/>
              <a:t>kann der Workshop auch mit der Technologie </a:t>
            </a:r>
            <a:r>
              <a:rPr lang="de-DE" b="1" dirty="0" err="1">
                <a:solidFill>
                  <a:schemeClr val="tx2"/>
                </a:solidFill>
              </a:rPr>
              <a:t>OpenRoberta</a:t>
            </a:r>
            <a:r>
              <a:rPr lang="de-DE" dirty="0"/>
              <a:t> verwendet werden, einer Alternative zu Microsoft </a:t>
            </a:r>
            <a:r>
              <a:rPr lang="de-DE" dirty="0" err="1"/>
              <a:t>Makecode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wird </a:t>
            </a:r>
            <a:r>
              <a:rPr lang="de-DE" dirty="0">
                <a:solidFill>
                  <a:schemeClr val="tx2"/>
                </a:solidFill>
              </a:rPr>
              <a:t>Open Source auf GitHub (Telekom OSS) </a:t>
            </a:r>
            <a:r>
              <a:rPr lang="de-DE" dirty="0"/>
              <a:t>gestellt, um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Verbreitung zu ermöglichen und via GitHub „Pull-</a:t>
            </a:r>
            <a:r>
              <a:rPr lang="de-DE" dirty="0" err="1"/>
              <a:t>Requests</a:t>
            </a:r>
            <a:r>
              <a:rPr lang="de-DE" dirty="0"/>
              <a:t>“ Mitarbeit zu förder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Portierung zu anderen Hardware- und Software-Plattformen zu ermöglichen</a:t>
            </a:r>
            <a:br>
              <a:rPr lang="de-DE" dirty="0"/>
            </a:br>
            <a:r>
              <a:rPr lang="de-DE" sz="1600" dirty="0"/>
              <a:t>(z.B. andere Lerncomputer wie </a:t>
            </a:r>
            <a:r>
              <a:rPr lang="de-DE" sz="1600" dirty="0" err="1"/>
              <a:t>Microbit</a:t>
            </a:r>
            <a:r>
              <a:rPr lang="de-DE" sz="1600" dirty="0"/>
              <a:t>, Raspberry Pi; andere Technologien wie Scratch, …)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44B848-9C0B-4ADF-9D69-DA23B672DC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5375" b="86724"/>
          <a:stretch/>
        </p:blipFill>
        <p:spPr>
          <a:xfrm>
            <a:off x="446653" y="1086336"/>
            <a:ext cx="2032454" cy="34464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AD083DA-2ED4-4962-A7FD-27F1C0108D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48" r="15515"/>
          <a:stretch/>
        </p:blipFill>
        <p:spPr>
          <a:xfrm>
            <a:off x="1278687" y="1393221"/>
            <a:ext cx="1140991" cy="116652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49018C8-1502-4737-B6E7-02728B147C6D}"/>
              </a:ext>
            </a:extLst>
          </p:cNvPr>
          <p:cNvSpPr txBox="1"/>
          <p:nvPr/>
        </p:nvSpPr>
        <p:spPr bwMode="gray">
          <a:xfrm>
            <a:off x="406331" y="878486"/>
            <a:ext cx="1224884" cy="3306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KI Leitlinie</a:t>
            </a:r>
          </a:p>
        </p:txBody>
      </p:sp>
      <p:pic>
        <p:nvPicPr>
          <p:cNvPr id="95234" name="Picture 2">
            <a:extLst>
              <a:ext uri="{FF2B5EF4-FFF2-40B4-BE49-F238E27FC236}">
                <a16:creationId xmlns:a16="http://schemas.microsoft.com/office/drawing/2014/main" id="{59B7671D-E1B1-4896-AAC9-80AA535AA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73" y="2866626"/>
            <a:ext cx="1487377" cy="131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ACB7A5-2637-4F8D-AC33-7C222E780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17" y="1691594"/>
            <a:ext cx="1360844" cy="569774"/>
          </a:xfrm>
          <a:prstGeom prst="rect">
            <a:avLst/>
          </a:prstGeom>
        </p:spPr>
      </p:pic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213FBBA-A780-4C24-841D-E54C079C74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öffentlich – Christian Schiller – KI in Schulen: </a:t>
            </a:r>
            <a:r>
              <a:rPr lang="de-DE" dirty="0" err="1"/>
              <a:t>Calliope</a:t>
            </a:r>
            <a:r>
              <a:rPr lang="de-DE" dirty="0"/>
              <a:t>-Rennspiel – 08.09.2020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4A7771B-4E7C-48CB-9E1A-0EA047902B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33" y="4413412"/>
            <a:ext cx="2479107" cy="592397"/>
          </a:xfrm>
          <a:prstGeom prst="rect">
            <a:avLst/>
          </a:prstGeom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9EE2236A-82CD-4D58-9C6B-A28A51AD0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161" y="4800472"/>
            <a:ext cx="819788" cy="81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9428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B6B639-2050-41AD-8283-28D708212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zu Variante 1B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CDA5793-5BEB-4CB6-A983-19F587ECA0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985962"/>
            <a:ext cx="10872000" cy="1137909"/>
          </a:xfrm>
        </p:spPr>
        <p:txBody>
          <a:bodyPr/>
          <a:lstStyle/>
          <a:p>
            <a:r>
              <a:rPr lang="de-DE" dirty="0"/>
              <a:t>Video ansehen au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inkedIn: </a:t>
            </a:r>
            <a:r>
              <a:rPr lang="de-DE" sz="1400" dirty="0">
                <a:hlinkClick r:id="rId4"/>
              </a:rPr>
              <a:t>https://www.linkedin.com/posts/christianschiller_ai-artificialintelligence-ki-activity-6613046241179774976-SUba</a:t>
            </a:r>
            <a:r>
              <a:rPr lang="de-DE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Twitter: </a:t>
            </a:r>
            <a:r>
              <a:rPr lang="de-DE" sz="1400" dirty="0">
                <a:hlinkClick r:id="rId5"/>
              </a:rPr>
              <a:t>https://twitter.com/c_a_schiller/status/1207283815552557056</a:t>
            </a:r>
            <a:r>
              <a:rPr lang="de-DE" sz="1400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C16120-F3BD-4DB0-843D-30B8CD74A0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DE332-53EF-4869-B9B7-8E2ABB3A10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39" r="4395"/>
          <a:stretch/>
        </p:blipFill>
        <p:spPr>
          <a:xfrm>
            <a:off x="323998" y="2175004"/>
            <a:ext cx="4672413" cy="2659362"/>
          </a:xfrm>
          <a:prstGeom prst="rect">
            <a:avLst/>
          </a:prstGeom>
        </p:spPr>
      </p:pic>
      <p:pic>
        <p:nvPicPr>
          <p:cNvPr id="3" name="MOV_4749-silent">
            <a:hlinkClick r:id="" action="ppaction://media"/>
            <a:extLst>
              <a:ext uri="{FF2B5EF4-FFF2-40B4-BE49-F238E27FC236}">
                <a16:creationId xmlns:a16="http://schemas.microsoft.com/office/drawing/2014/main" id="{CB508AA7-09D4-46AC-8566-F8F7A6A9431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545013" y="2190589"/>
            <a:ext cx="4672413" cy="262819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30F48BAD-9619-4C87-AC80-5E6ECFF824C6}"/>
              </a:ext>
            </a:extLst>
          </p:cNvPr>
          <p:cNvSpPr txBox="1"/>
          <p:nvPr/>
        </p:nvSpPr>
        <p:spPr bwMode="gray">
          <a:xfrm>
            <a:off x="284797" y="4832488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EE1EB6F-DF6F-434D-8B3C-532797EB5026}"/>
              </a:ext>
            </a:extLst>
          </p:cNvPr>
          <p:cNvSpPr txBox="1"/>
          <p:nvPr/>
        </p:nvSpPr>
        <p:spPr bwMode="gray">
          <a:xfrm>
            <a:off x="5545013" y="4838461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84904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7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154436"/>
          </a:xfrm>
        </p:spPr>
        <p:txBody>
          <a:bodyPr/>
          <a:lstStyle/>
          <a:p>
            <a:r>
              <a:rPr lang="de-DE" dirty="0"/>
              <a:t>Softwareanforderungen</a:t>
            </a:r>
            <a:br>
              <a:rPr lang="de-DE" dirty="0"/>
            </a:br>
            <a:r>
              <a:rPr lang="de-DE" sz="4000" dirty="0"/>
              <a:t>für Workshopvariante „</a:t>
            </a:r>
            <a:r>
              <a:rPr lang="de-DE" sz="4000" dirty="0" err="1"/>
              <a:t>Calliope</a:t>
            </a:r>
            <a:r>
              <a:rPr lang="de-DE" sz="4000" dirty="0"/>
              <a:t> Mini und Microsoft </a:t>
            </a:r>
            <a:r>
              <a:rPr lang="de-DE" sz="4000" dirty="0" err="1"/>
              <a:t>Makecode</a:t>
            </a:r>
            <a:r>
              <a:rPr lang="de-DE" sz="4000" dirty="0"/>
              <a:t>“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3201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lisierungsstatus Stand 09/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195665"/>
              </p:ext>
            </p:extLst>
          </p:nvPr>
        </p:nvGraphicFramePr>
        <p:xfrm>
          <a:off x="989005" y="1127065"/>
          <a:ext cx="9944039" cy="4705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889567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815843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1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,</a:t>
                      </a:r>
                      <a:br>
                        <a:rPr lang="de-DE" sz="1200" dirty="0">
                          <a:solidFill>
                            <a:srgbClr val="FF0000"/>
                          </a:solidFill>
                        </a:rPr>
                      </a:b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 Microsoft </a:t>
                      </a: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;</a:t>
                      </a:r>
                      <a:br>
                        <a:rPr lang="de-DE" sz="1200" b="0" dirty="0">
                          <a:solidFill>
                            <a:srgbClr val="FF0000"/>
                          </a:solidFill>
                        </a:rPr>
                      </a:b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Scikit-Learn</a:t>
                      </a:r>
                      <a:endParaRPr lang="de-DE" sz="1200" b="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,</a:t>
                      </a:r>
                    </a:p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endParaRPr lang="de-DE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08.09.2020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Prinzipiell funktionsfähig (auf Microsoft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für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icrobit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), aber blockiert durch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th.ts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Fehler der Microsoft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-Installation auf calliope.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1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031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Realisierungsstatus Stand 09/2020</a:t>
            </a:r>
            <a:endParaRPr lang="de-DE" sz="24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144783"/>
              </p:ext>
            </p:extLst>
          </p:nvPr>
        </p:nvGraphicFramePr>
        <p:xfrm>
          <a:off x="989005" y="1127065"/>
          <a:ext cx="9944039" cy="4477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367780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654130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1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Microsoft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Makecod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oder Fraunhofer IAIS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OpenRoberta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;</a:t>
                      </a:r>
                      <a:br>
                        <a:rPr lang="de-DE" sz="12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Scikit-Learn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PyGam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Orange (optio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08.09.2020</a:t>
                      </a:r>
                    </a:p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Einsatzbereit!</a:t>
                      </a:r>
                    </a:p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offen: Nutzbarkeits-verbesserungen (bspw. zentrales Nutzerinterface statt Skriptnutzu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8780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528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lisierungsstatus Stand 09/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760663"/>
              </p:ext>
            </p:extLst>
          </p:nvPr>
        </p:nvGraphicFramePr>
        <p:xfrm>
          <a:off x="989005" y="1127065"/>
          <a:ext cx="9944039" cy="4705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932042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773368">
                <a:tc>
                  <a:txBody>
                    <a:bodyPr/>
                    <a:lstStyle/>
                    <a:p>
                      <a:r>
                        <a:rPr lang="de-DE" sz="12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 Microsoft </a:t>
                      </a:r>
                      <a:r>
                        <a:rPr lang="de-DE" sz="1200" dirty="0" err="1"/>
                        <a:t>Makecod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n Arbeit (noch nicht ernsthaft begon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053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7824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AB82BE-077C-43B7-9163-FFC413F9A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te der Basis- und Projektsoftwa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E6C76A-9531-4FE5-9F13-E535F9969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f den folgenden Folien ist der Inhalt des GitHub des Projektes beschrieb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okument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A</a:t>
            </a:r>
            <a:r>
              <a:rPr lang="de-DE" dirty="0"/>
              <a:t> („IQ-Test auf </a:t>
            </a:r>
            <a:r>
              <a:rPr lang="de-DE" dirty="0" err="1"/>
              <a:t>Calliope</a:t>
            </a:r>
            <a:r>
              <a:rPr lang="de-DE" dirty="0"/>
              <a:t>“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B</a:t>
            </a:r>
            <a:r>
              <a:rPr lang="de-DE" dirty="0"/>
              <a:t> („IQ-Test auf Desktop-PC“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22E6C-78EB-42BD-935C-0470DBA88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053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AB82BE-077C-43B7-9163-FFC413F9A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te der Basis- und Projektsoftwa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E6C76A-9531-4FE5-9F13-E535F9969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f den folgenden Folien ist der Inhalt des GitHub des Projektes beschrieb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okument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B</a:t>
            </a:r>
            <a:r>
              <a:rPr lang="de-DE" dirty="0"/>
              <a:t> („IQ-Test auf Desktop-PC“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22E6C-78EB-42BD-935C-0470DBA88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0203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080331-DA07-4368-A87D-B4552D9A0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dateien - DOKUMENT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4C88EAB-44F1-4D9B-ACEF-A465C6AAC34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B9C0DF9-AFD0-477E-9D83-9BE31E053D1F}"/>
              </a:ext>
            </a:extLst>
          </p:cNvPr>
          <p:cNvSpPr txBox="1"/>
          <p:nvPr/>
        </p:nvSpPr>
        <p:spPr>
          <a:xfrm>
            <a:off x="1502086" y="2861060"/>
            <a:ext cx="3543255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Gesamtüberblick über Projekt (dieses Dokument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B2FAB48-E170-411A-A198-44335EBF8BDA}"/>
              </a:ext>
            </a:extLst>
          </p:cNvPr>
          <p:cNvSpPr txBox="1"/>
          <p:nvPr/>
        </p:nvSpPr>
        <p:spPr>
          <a:xfrm>
            <a:off x="1502086" y="3191585"/>
            <a:ext cx="5260905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 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– Konzept für Workshopablauf und Nutzungsanleit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D7DB5F-7736-48A7-93C1-D6C11B16C42D}"/>
              </a:ext>
            </a:extLst>
          </p:cNvPr>
          <p:cNvSpPr txBox="1"/>
          <p:nvPr/>
        </p:nvSpPr>
        <p:spPr>
          <a:xfrm>
            <a:off x="1502086" y="3502863"/>
            <a:ext cx="5705129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–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SuS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geeigneter Foliensatz zur Nutzung im Workshopablauf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7315FFF-D5A9-407C-8EA5-9127882E4D06}"/>
              </a:ext>
            </a:extLst>
          </p:cNvPr>
          <p:cNvSpPr/>
          <p:nvPr/>
        </p:nvSpPr>
        <p:spPr bwMode="gray">
          <a:xfrm>
            <a:off x="457201" y="1398004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A6A0724-8A4A-4F56-8C54-A97FECB1B4E9}"/>
              </a:ext>
            </a:extLst>
          </p:cNvPr>
          <p:cNvSpPr/>
          <p:nvPr/>
        </p:nvSpPr>
        <p:spPr bwMode="gray">
          <a:xfrm>
            <a:off x="457201" y="1611305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41C4CF4-95E7-4A52-9851-0E2CF9992BD6}"/>
              </a:ext>
            </a:extLst>
          </p:cNvPr>
          <p:cNvSpPr/>
          <p:nvPr/>
        </p:nvSpPr>
        <p:spPr bwMode="gray">
          <a:xfrm>
            <a:off x="457201" y="1845732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016E5A8-D38C-446E-AA60-72C3F92ACD51}"/>
              </a:ext>
            </a:extLst>
          </p:cNvPr>
          <p:cNvSpPr/>
          <p:nvPr/>
        </p:nvSpPr>
        <p:spPr bwMode="gray">
          <a:xfrm>
            <a:off x="1246054" y="3189424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C360FF5-55A5-4ACD-9315-6C3349A79EB1}"/>
              </a:ext>
            </a:extLst>
          </p:cNvPr>
          <p:cNvSpPr/>
          <p:nvPr/>
        </p:nvSpPr>
        <p:spPr bwMode="gray">
          <a:xfrm>
            <a:off x="1246054" y="351079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6B2A1C9-87C0-480C-AC64-21C32D9E2E18}"/>
              </a:ext>
            </a:extLst>
          </p:cNvPr>
          <p:cNvSpPr/>
          <p:nvPr/>
        </p:nvSpPr>
        <p:spPr bwMode="gray">
          <a:xfrm>
            <a:off x="1246054" y="286106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43478C6-383F-46A4-9C24-A5B4B64AF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232" y="1303786"/>
            <a:ext cx="6582413" cy="953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9325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>
            <a:normAutofit lnSpcReduction="10000"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C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Calliope</a:t>
            </a:r>
            <a:r>
              <a:rPr lang="de-DE" b="1" dirty="0"/>
              <a:t> </a:t>
            </a:r>
            <a:r>
              <a:rPr lang="de-DE" b="1" dirty="0" err="1"/>
              <a:t>Makecode</a:t>
            </a:r>
            <a:r>
              <a:rPr lang="de-DE" b="1" dirty="0"/>
              <a:t> C Entwicklungstemplate</a:t>
            </a:r>
            <a:br>
              <a:rPr lang="de-DE" b="1" dirty="0"/>
            </a:br>
            <a:r>
              <a:rPr lang="de-DE" dirty="0">
                <a:hlinkClick r:id="rId4"/>
              </a:rPr>
              <a:t>https://github.com/calliope-mini/calliope-project-template</a:t>
            </a:r>
            <a:br>
              <a:rPr lang="de-DE" dirty="0"/>
            </a:br>
            <a:r>
              <a:rPr lang="de-DE" dirty="0"/>
              <a:t>Template der Firma </a:t>
            </a:r>
            <a:r>
              <a:rPr lang="de-DE" dirty="0" err="1"/>
              <a:t>Calliope</a:t>
            </a:r>
            <a:r>
              <a:rPr lang="de-DE" dirty="0"/>
              <a:t> gGmbH, um C-basierte Erweiterungen zu entwickeln. Das für unser Projekt eigenentwickelte künstliche neuronale Netzwerk für den </a:t>
            </a:r>
            <a:r>
              <a:rPr lang="de-DE" dirty="0" err="1"/>
              <a:t>Calliope</a:t>
            </a:r>
            <a:r>
              <a:rPr lang="de-DE" dirty="0"/>
              <a:t> Mini setzt darauf auf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5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825333" y="4753227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197" y="1463254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072" y="1468016"/>
            <a:ext cx="1200150" cy="447675"/>
          </a:xfrm>
          <a:prstGeom prst="rect">
            <a:avLst/>
          </a:prstGeom>
        </p:spPr>
      </p:pic>
      <p:pic>
        <p:nvPicPr>
          <p:cNvPr id="95234" name="Picture 2">
            <a:extLst>
              <a:ext uri="{FF2B5EF4-FFF2-40B4-BE49-F238E27FC236}">
                <a16:creationId xmlns:a16="http://schemas.microsoft.com/office/drawing/2014/main" id="{DDCEC8A8-A926-468D-8F45-A995EF66D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44" y="2284441"/>
            <a:ext cx="1040851" cy="110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497EDF0-F981-436D-AA24-CE713DF0772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/>
            <a:alphaModFix/>
          </a:blip>
          <a:srcRect l="11026" t="13908" r="10735" b="20845"/>
          <a:stretch/>
        </p:blipFill>
        <p:spPr>
          <a:xfrm>
            <a:off x="802264" y="4332603"/>
            <a:ext cx="1499616" cy="42062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14D569-39FA-4BA4-8A17-F1EE53259D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AB520-667C-4892-A878-82F7B91D8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9D24D6-E721-42CE-AFA8-5D96A16C7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gemeinsam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nnspiel (</a:t>
            </a:r>
            <a:r>
              <a:rPr lang="de-DE" dirty="0" err="1"/>
              <a:t>car_race_makecode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Brauchen wir für Variante 1A einen Fork/neue Version von car_race_makecode_v15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schaffen wir eine integrierte Version, die für beide Varianten nutzbar is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iskussion </a:t>
            </a:r>
            <a:r>
              <a:rPr lang="de-DE" dirty="0" err="1"/>
              <a:t>Feri</a:t>
            </a:r>
            <a:r>
              <a:rPr lang="de-DE" dirty="0"/>
              <a:t>/Christian 16.3.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„neues </a:t>
            </a:r>
            <a:r>
              <a:rPr lang="de-DE" dirty="0" err="1"/>
              <a:t>Calliope</a:t>
            </a:r>
            <a:r>
              <a:rPr lang="de-DE" dirty="0"/>
              <a:t>-Programm für Variante 1A im /</a:t>
            </a:r>
            <a:r>
              <a:rPr lang="de-DE" dirty="0" err="1"/>
              <a:t>car_race</a:t>
            </a:r>
            <a:r>
              <a:rPr lang="de-DE" dirty="0"/>
              <a:t>/</a:t>
            </a:r>
            <a:r>
              <a:rPr lang="de-DE" dirty="0" err="1"/>
              <a:t>makecode</a:t>
            </a:r>
            <a:r>
              <a:rPr lang="de-DE" dirty="0"/>
              <a:t>“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41C827-0486-430B-A0A7-C0F40FF130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634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6BF8E38-EE6E-4D69-9C58-48C4AF39F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material und Lize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061521B-58F2-4308-B3C9-3C6B354C7D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neueste Version des Projektmaterials liegt immer auf GitHub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>
                <a:hlinkClick r:id="rId2"/>
              </a:rPr>
              <a:t>https://github.com/telekom/ki-in-schulen</a:t>
            </a:r>
            <a:r>
              <a:rPr lang="de-DE" b="1" dirty="0"/>
              <a:t> (Schulen in Deutschla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izenz für Dokumentation und Cod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i="1" dirty="0" err="1">
                <a:solidFill>
                  <a:srgbClr val="FF0000"/>
                </a:solidFill>
              </a:rPr>
              <a:t>tbd</a:t>
            </a:r>
            <a:r>
              <a:rPr lang="de-DE" b="1" i="1" dirty="0">
                <a:solidFill>
                  <a:srgbClr val="FF0000"/>
                </a:solidFill>
              </a:rPr>
              <a:t> – Beratung durch TOS-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imärkontakt für das Projekt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hristian Schiller, Senior IT &amp; Enterprise </a:t>
            </a:r>
            <a:r>
              <a:rPr lang="de-DE" dirty="0" err="1"/>
              <a:t>Architect</a:t>
            </a:r>
            <a:r>
              <a:rPr lang="de-DE" dirty="0"/>
              <a:t>, Deutsche Telekom IT GmbH, Landgrabenweg 151, 53227 Bon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mailkontakt: </a:t>
            </a:r>
            <a:r>
              <a:rPr lang="de-DE" dirty="0">
                <a:hlinkClick r:id="rId3"/>
              </a:rPr>
              <a:t>christian.schiller@telekom.d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GitHub Kontakt: </a:t>
            </a:r>
            <a:r>
              <a:rPr lang="de-DE" dirty="0">
                <a:hlinkClick r:id="rId4"/>
              </a:rPr>
              <a:t>https://github.com/c-a-schiller</a:t>
            </a:r>
            <a:endParaRPr lang="de-DE" dirty="0"/>
          </a:p>
        </p:txBody>
      </p:sp>
      <p:pic>
        <p:nvPicPr>
          <p:cNvPr id="96260" name="Picture 4">
            <a:extLst>
              <a:ext uri="{FF2B5EF4-FFF2-40B4-BE49-F238E27FC236}">
                <a16:creationId xmlns:a16="http://schemas.microsoft.com/office/drawing/2014/main" id="{80FA73A9-E1DE-416D-A454-B378F752B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324" y="1327056"/>
            <a:ext cx="1429956" cy="142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4C6AA4C-2633-4942-B2E6-7001E6C7AA49}"/>
              </a:ext>
            </a:extLst>
          </p:cNvPr>
          <p:cNvSpPr txBox="1"/>
          <p:nvPr/>
        </p:nvSpPr>
        <p:spPr bwMode="gray">
          <a:xfrm>
            <a:off x="8811324" y="3240087"/>
            <a:ext cx="1429956" cy="413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&lt;Lizenzlogo&gt;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662184-C81E-45F2-8CF9-2E4F7C154E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4177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66ED6F-1434-4832-9FAC-5BEC6084D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C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11C4EF-A22F-4955-9720-F157A43F19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FER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st es möglich, dass zur Integration de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r>
              <a:rPr lang="de-DE" dirty="0"/>
              <a:t> NN </a:t>
            </a:r>
            <a:r>
              <a:rPr lang="de-DE" dirty="0" err="1"/>
              <a:t>extensions</a:t>
            </a:r>
            <a:r>
              <a:rPr lang="de-DE" dirty="0"/>
              <a:t> von Dir </a:t>
            </a:r>
            <a:r>
              <a:rPr lang="de-DE" dirty="0" err="1"/>
              <a:t>Feri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in </a:t>
            </a:r>
            <a:r>
              <a:rPr lang="de-DE" dirty="0" err="1"/>
              <a:t>subfolder</a:t>
            </a:r>
            <a:r>
              <a:rPr lang="de-DE" dirty="0"/>
              <a:t> eines </a:t>
            </a:r>
            <a:r>
              <a:rPr lang="de-DE" dirty="0" err="1"/>
              <a:t>github</a:t>
            </a:r>
            <a:r>
              <a:rPr lang="de-DE" dirty="0"/>
              <a:t> Projektes angegeben wird für den Impor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brauchen/wollen wir auf dem </a:t>
            </a:r>
            <a:r>
              <a:rPr lang="de-DE" dirty="0" err="1"/>
              <a:t>telekom</a:t>
            </a:r>
            <a:r>
              <a:rPr lang="de-DE" dirty="0"/>
              <a:t> </a:t>
            </a:r>
            <a:r>
              <a:rPr lang="de-DE" dirty="0" err="1"/>
              <a:t>github</a:t>
            </a:r>
            <a:r>
              <a:rPr lang="de-DE" dirty="0"/>
              <a:t> ein zweites </a:t>
            </a:r>
            <a:r>
              <a:rPr lang="de-DE" dirty="0" err="1"/>
              <a:t>projekt</a:t>
            </a:r>
            <a:r>
              <a:rPr lang="de-DE" dirty="0"/>
              <a:t> (ein </a:t>
            </a:r>
            <a:r>
              <a:rPr lang="de-DE" dirty="0" err="1"/>
              <a:t>klon</a:t>
            </a:r>
            <a:r>
              <a:rPr lang="de-DE" dirty="0"/>
              <a:t> von deinem </a:t>
            </a:r>
            <a:r>
              <a:rPr lang="de-DE" dirty="0" err="1"/>
              <a:t>projekt</a:t>
            </a:r>
            <a:r>
              <a:rPr lang="de-DE" dirty="0"/>
              <a:t> auf deinem </a:t>
            </a:r>
            <a:r>
              <a:rPr lang="de-DE" dirty="0" err="1"/>
              <a:t>github</a:t>
            </a:r>
            <a:r>
              <a:rPr lang="de-DE" dirty="0"/>
              <a:t> bzw. deinem </a:t>
            </a:r>
            <a:r>
              <a:rPr lang="de-DE" dirty="0" err="1"/>
              <a:t>projekt</a:t>
            </a:r>
            <a:r>
              <a:rPr lang="de-DE" dirty="0"/>
              <a:t> auf </a:t>
            </a:r>
            <a:r>
              <a:rPr lang="de-DE" dirty="0" err="1"/>
              <a:t>codesharewb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iskussio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s muss zwingend ein eigenes Repository sein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Offene Frage, wie es heißen muss</a:t>
            </a:r>
          </a:p>
          <a:p>
            <a:pPr marL="2800190" lvl="5" indent="-285750">
              <a:buFont typeface="Arial" panose="020B0604020202020204" pitchFamily="34" charset="0"/>
              <a:buChar char="•"/>
            </a:pPr>
            <a:r>
              <a:rPr lang="de-DE" dirty="0" err="1"/>
              <a:t>pxt</a:t>
            </a:r>
            <a:r>
              <a:rPr lang="de-DE" dirty="0"/>
              <a:t>-</a:t>
            </a:r>
            <a:r>
              <a:rPr lang="de-DE" dirty="0" err="1"/>
              <a:t>ki</a:t>
            </a:r>
            <a:r>
              <a:rPr lang="de-DE" dirty="0"/>
              <a:t>-in-schulen-</a:t>
            </a:r>
            <a:r>
              <a:rPr lang="de-DE" dirty="0" err="1"/>
              <a:t>makecode</a:t>
            </a:r>
            <a:r>
              <a:rPr lang="de-DE" dirty="0"/>
              <a:t>-</a:t>
            </a:r>
            <a:r>
              <a:rPr lang="de-DE" dirty="0" err="1"/>
              <a:t>knn</a:t>
            </a:r>
            <a:br>
              <a:rPr lang="de-DE" dirty="0"/>
            </a:br>
            <a:r>
              <a:rPr lang="de-DE" dirty="0"/>
              <a:t>oder</a:t>
            </a:r>
            <a:br>
              <a:rPr lang="de-DE" dirty="0"/>
            </a:br>
            <a:r>
              <a:rPr lang="de-DE" dirty="0" err="1"/>
              <a:t>ki</a:t>
            </a:r>
            <a:r>
              <a:rPr lang="de-DE" dirty="0"/>
              <a:t>-in-schulen-</a:t>
            </a:r>
            <a:r>
              <a:rPr lang="de-DE" dirty="0" err="1"/>
              <a:t>makecode</a:t>
            </a:r>
            <a:r>
              <a:rPr lang="de-DE" dirty="0"/>
              <a:t>-</a:t>
            </a:r>
            <a:r>
              <a:rPr lang="de-DE" dirty="0" err="1"/>
              <a:t>kn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CF0FA-07D4-4DD3-97AE-98E6D2C3A2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8038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ABBE002-AF02-4E77-A74F-6929C6C3B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8" y="837041"/>
            <a:ext cx="4429125" cy="482917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5224319" y="3109587"/>
            <a:ext cx="382294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Leerverzeichnis für Orange Workflow – 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5224319" y="4043617"/>
            <a:ext cx="4655675" cy="44495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1. 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</a:t>
            </a:r>
          </a:p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dirty="0">
                <a:latin typeface="Liberation Sans" pitchFamily="18"/>
                <a:ea typeface="Noto Sans CJK SC" pitchFamily="2"/>
                <a:cs typeface="Lohit Devanagari" pitchFamily="2"/>
              </a:rPr>
              <a:t>2. Vom Datenlogger (ki-collect.py) genutztes Verzeichni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4936319" y="3413426"/>
            <a:ext cx="288000" cy="1752934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6B6530-5061-4974-AB26-77D7A91024AD}"/>
              </a:ext>
            </a:extLst>
          </p:cNvPr>
          <p:cNvSpPr txBox="1"/>
          <p:nvPr/>
        </p:nvSpPr>
        <p:spPr>
          <a:xfrm>
            <a:off x="5241598" y="5401137"/>
            <a:ext cx="39877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 für trainierte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5241598" y="850808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2310E78-B2F8-4543-9A52-71451C4F9B85}"/>
              </a:ext>
            </a:extLst>
          </p:cNvPr>
          <p:cNvSpPr txBox="1"/>
          <p:nvPr/>
        </p:nvSpPr>
        <p:spPr>
          <a:xfrm>
            <a:off x="5241598" y="1179895"/>
            <a:ext cx="61045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Konfigurationsdateien für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und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ip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zur Installation notwendiger Python-Pakete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53FF5122-922A-4B0A-BC7F-60305DBFB230}"/>
              </a:ext>
            </a:extLst>
          </p:cNvPr>
          <p:cNvSpPr/>
          <p:nvPr/>
        </p:nvSpPr>
        <p:spPr>
          <a:xfrm>
            <a:off x="4936319" y="10803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5224319" y="1767169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5241598" y="1526206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5224319" y="1995670"/>
            <a:ext cx="6109791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6AA11B4-FBEB-4E6E-9EAD-506257FD0BF4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2176272" y="978408"/>
            <a:ext cx="3065326" cy="63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F5EB28C-A96C-4D22-AA33-AE6FC58AB6B4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2328672" y="1660164"/>
            <a:ext cx="2912926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112264" y="1897669"/>
            <a:ext cx="31120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3145537" y="2126170"/>
            <a:ext cx="2078782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2697480" y="3240087"/>
            <a:ext cx="2526839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ABECFE0-7BF6-494F-B249-A771498BA5AA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1642081" y="5531637"/>
            <a:ext cx="3599517" cy="1585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0A99AC4D-0DF5-4541-B41D-3EEE0876103A}"/>
              </a:ext>
            </a:extLst>
          </p:cNvPr>
          <p:cNvSpPr txBox="1"/>
          <p:nvPr/>
        </p:nvSpPr>
        <p:spPr>
          <a:xfrm>
            <a:off x="5241598" y="2362429"/>
            <a:ext cx="313320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Grafiken – nicht löschen!</a:t>
            </a:r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EABC7A23-05A7-4494-B26A-1CF757126C18}"/>
              </a:ext>
            </a:extLst>
          </p:cNvPr>
          <p:cNvSpPr/>
          <p:nvPr/>
        </p:nvSpPr>
        <p:spPr>
          <a:xfrm>
            <a:off x="4936319" y="2262846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68E7B1C-279D-4661-9193-78B1CC433197}"/>
              </a:ext>
            </a:extLst>
          </p:cNvPr>
          <p:cNvSpPr txBox="1"/>
          <p:nvPr/>
        </p:nvSpPr>
        <p:spPr bwMode="gray">
          <a:xfrm>
            <a:off x="2278066" y="839370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6DD1BFF-CBD4-432A-A822-F1B4C7EB58BA}"/>
              </a:ext>
            </a:extLst>
          </p:cNvPr>
          <p:cNvSpPr txBox="1"/>
          <p:nvPr/>
        </p:nvSpPr>
        <p:spPr bwMode="gray">
          <a:xfrm>
            <a:off x="3213979" y="2005699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7C75D3F-A55A-4E8B-ADB3-E97CD05F5F21}"/>
              </a:ext>
            </a:extLst>
          </p:cNvPr>
          <p:cNvSpPr txBox="1"/>
          <p:nvPr/>
        </p:nvSpPr>
        <p:spPr bwMode="gray">
          <a:xfrm>
            <a:off x="3178879" y="235725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A836C7D-EFF9-43D2-8349-AD9B36C9D209}"/>
              </a:ext>
            </a:extLst>
          </p:cNvPr>
          <p:cNvSpPr txBox="1"/>
          <p:nvPr/>
        </p:nvSpPr>
        <p:spPr bwMode="gray">
          <a:xfrm>
            <a:off x="2827853" y="313161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E34DB3F-6B1A-4C3B-82E8-4A99703D559F}"/>
              </a:ext>
            </a:extLst>
          </p:cNvPr>
          <p:cNvSpPr/>
          <p:nvPr/>
        </p:nvSpPr>
        <p:spPr bwMode="gray">
          <a:xfrm>
            <a:off x="706067" y="839370"/>
            <a:ext cx="1435105" cy="240938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CCA9491-0D11-4EBE-8CA9-4F5A8A4AF74B}"/>
              </a:ext>
            </a:extLst>
          </p:cNvPr>
          <p:cNvSpPr/>
          <p:nvPr/>
        </p:nvSpPr>
        <p:spPr bwMode="gray">
          <a:xfrm>
            <a:off x="741167" y="1968742"/>
            <a:ext cx="2367512" cy="715759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CBA669-3A19-433D-93CE-8475D1B2EFA9}"/>
              </a:ext>
            </a:extLst>
          </p:cNvPr>
          <p:cNvSpPr/>
          <p:nvPr/>
        </p:nvSpPr>
        <p:spPr bwMode="gray">
          <a:xfrm>
            <a:off x="741167" y="2700352"/>
            <a:ext cx="1014481" cy="14627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7552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B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 erforderlich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4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Pygame</a:t>
            </a:r>
            <a:r>
              <a:rPr lang="de-DE" b="1" dirty="0"/>
              <a:t> 1.9.6</a:t>
            </a:r>
            <a:br>
              <a:rPr lang="de-DE" b="1" dirty="0"/>
            </a:br>
            <a:r>
              <a:rPr lang="de-DE" dirty="0">
                <a:hlinkClick r:id="rId5"/>
              </a:rPr>
              <a:t>https://www.pygame.org/news</a:t>
            </a:r>
            <a:br>
              <a:rPr lang="de-DE" dirty="0"/>
            </a:br>
            <a:r>
              <a:rPr lang="de-DE" dirty="0"/>
              <a:t>Bibliothek für Python Spiele – für Auswerten der Ergebnis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Orange 3.24.1 </a:t>
            </a:r>
            <a:r>
              <a:rPr lang="de-DE" dirty="0"/>
              <a:t>(optional für Fortgeschrittene)</a:t>
            </a:r>
            <a:br>
              <a:rPr lang="de-DE" dirty="0"/>
            </a:br>
            <a:r>
              <a:rPr lang="de-DE" dirty="0">
                <a:hlinkClick r:id="rId6"/>
              </a:rPr>
              <a:t>http://orange.biolab.si/</a:t>
            </a:r>
            <a:br>
              <a:rPr lang="de-DE" dirty="0"/>
            </a:br>
            <a:r>
              <a:rPr lang="de-DE" dirty="0"/>
              <a:t>Plattform für Datenanalyse und maschinelles Lern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C4FD91A-D7E5-4F9D-B8A3-52EC63A1D66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841970" y="4534135"/>
            <a:ext cx="1398759" cy="72324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A048212-29A6-4B08-975C-B8C957D034C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lum/>
            <a:alphaModFix/>
          </a:blip>
          <a:srcRect l="11026" t="13908" r="10735" b="20845"/>
          <a:stretch/>
        </p:blipFill>
        <p:spPr>
          <a:xfrm>
            <a:off x="802264" y="2386916"/>
            <a:ext cx="1499616" cy="420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E797B25-02DC-4553-B70F-D37C0CD7330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643509" y="3648585"/>
            <a:ext cx="1835254" cy="7265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/>
            <a:alphaModFix/>
          </a:blip>
          <a:srcRect/>
          <a:stretch>
            <a:fillRect/>
          </a:stretch>
        </p:blipFill>
        <p:spPr>
          <a:xfrm>
            <a:off x="834399" y="2900189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6197" y="1360790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2072" y="1365552"/>
            <a:ext cx="1200150" cy="447675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B79981D-92FA-437B-A25C-F706BD929C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1134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2B830C6-35BF-4CEB-AEED-3FCE5F7876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2459736"/>
            <a:ext cx="10872000" cy="30488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akecode</a:t>
            </a:r>
            <a:r>
              <a:rPr lang="de-DE" dirty="0"/>
              <a:t>-Weboberfläche: </a:t>
            </a:r>
            <a:r>
              <a:rPr lang="de-DE" dirty="0">
                <a:hlinkClick r:id="rId2"/>
              </a:rPr>
              <a:t>https://makecode.calliope.cc/beta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hex Dateien wurden durch den Compiler der o.g. </a:t>
            </a:r>
            <a:r>
              <a:rPr lang="de-DE" dirty="0" err="1"/>
              <a:t>Makecode</a:t>
            </a:r>
            <a:r>
              <a:rPr lang="de-DE" dirty="0"/>
              <a:t>-Weboberfläche schon ins Binärformat des </a:t>
            </a:r>
            <a:r>
              <a:rPr lang="de-DE" dirty="0" err="1"/>
              <a:t>Calliope</a:t>
            </a:r>
            <a:r>
              <a:rPr lang="de-DE" dirty="0"/>
              <a:t> Mini kompiliert und können direkt auf einen per USB angeschlossenen </a:t>
            </a:r>
            <a:r>
              <a:rPr lang="de-DE" dirty="0" err="1"/>
              <a:t>Calliope</a:t>
            </a:r>
            <a:r>
              <a:rPr lang="de-DE" dirty="0"/>
              <a:t> kopiert werden, oder in der o.g. </a:t>
            </a:r>
            <a:r>
              <a:rPr lang="de-DE" dirty="0" err="1"/>
              <a:t>Makecode</a:t>
            </a:r>
            <a:r>
              <a:rPr lang="de-DE" dirty="0"/>
              <a:t>-Weboberfläche als Projekt import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</a:t>
            </a:r>
            <a:r>
              <a:rPr lang="de-DE" dirty="0" err="1"/>
              <a:t>js</a:t>
            </a:r>
            <a:r>
              <a:rPr lang="de-DE" dirty="0"/>
              <a:t> Dateien können in der o.g. </a:t>
            </a:r>
            <a:r>
              <a:rPr lang="de-DE" dirty="0" err="1"/>
              <a:t>Makecode</a:t>
            </a:r>
            <a:r>
              <a:rPr lang="de-DE" dirty="0"/>
              <a:t>-Weboberfläche per </a:t>
            </a:r>
            <a:r>
              <a:rPr lang="de-DE" dirty="0" err="1"/>
              <a:t>copy</a:t>
            </a:r>
            <a:r>
              <a:rPr lang="de-DE" dirty="0"/>
              <a:t>/</a:t>
            </a:r>
            <a:r>
              <a:rPr lang="de-DE" dirty="0" err="1"/>
              <a:t>paste</a:t>
            </a:r>
            <a:r>
              <a:rPr lang="de-DE" dirty="0"/>
              <a:t> in ein leeres neues Projekt (Ansicht: JavaScript) übernommen werd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EA1B5F-BB0F-4BB2-B3C9-96B0B2763326}"/>
              </a:ext>
            </a:extLst>
          </p:cNvPr>
          <p:cNvSpPr txBox="1"/>
          <p:nvPr/>
        </p:nvSpPr>
        <p:spPr>
          <a:xfrm>
            <a:off x="4153462" y="1310395"/>
            <a:ext cx="440772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Mini Autorennspiel zum Sammeln von Trainingsda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1B2ED2C-192C-415B-815A-AC8ACE9F44BE}"/>
              </a:ext>
            </a:extLst>
          </p:cNvPr>
          <p:cNvSpPr/>
          <p:nvPr/>
        </p:nvSpPr>
        <p:spPr>
          <a:xfrm>
            <a:off x="3848183" y="12108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8B8148-83D4-4406-9264-99632C4CDAAA}"/>
              </a:ext>
            </a:extLst>
          </p:cNvPr>
          <p:cNvSpPr txBox="1"/>
          <p:nvPr/>
        </p:nvSpPr>
        <p:spPr>
          <a:xfrm>
            <a:off x="4153462" y="1784868"/>
            <a:ext cx="1781170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Datensammler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DB341DCD-39CB-483D-A907-F7A9AF7710F4}"/>
              </a:ext>
            </a:extLst>
          </p:cNvPr>
          <p:cNvSpPr/>
          <p:nvPr/>
        </p:nvSpPr>
        <p:spPr>
          <a:xfrm>
            <a:off x="3848183" y="1685285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6912D1-FD05-4DAB-BA74-6E6724AC4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6511" y="1095098"/>
            <a:ext cx="2414393" cy="119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6011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C0CA311-CADD-4FD1-BB36-4E207C3234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095" y="1649331"/>
            <a:ext cx="2192802" cy="22959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3265949" y="2018407"/>
            <a:ext cx="5100861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se für Datenverarbeitung und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3265949" y="1661975"/>
            <a:ext cx="6973938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, wird auch vom Datenlogger genutzt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2951923" y="1929890"/>
            <a:ext cx="288000" cy="444950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3328359" y="2996679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3314006" y="3538772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3328359" y="2756963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3314006" y="3266862"/>
            <a:ext cx="6069600" cy="267915"/>
          </a:xfrm>
          <a:prstGeom prst="rect">
            <a:avLst/>
          </a:prstGeom>
          <a:noFill/>
          <a:ln>
            <a:noFill/>
          </a:ln>
        </p:spPr>
        <p:txBody>
          <a:bodyPr wrap="squar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816796" y="3669272"/>
            <a:ext cx="497210" cy="971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2925898" y="3397362"/>
            <a:ext cx="388108" cy="345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11" idx="1"/>
          </p:cNvCxnSpPr>
          <p:nvPr/>
        </p:nvCxnSpPr>
        <p:spPr>
          <a:xfrm>
            <a:off x="3239923" y="2152365"/>
            <a:ext cx="0" cy="559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087E40B-7F55-461F-99BA-BDE3FD9BDCA6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2131794" y="1795933"/>
            <a:ext cx="11341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0ABA74E-F82B-4391-B4D2-53CF2C2A890D}"/>
              </a:ext>
            </a:extLst>
          </p:cNvPr>
          <p:cNvSpPr txBox="1"/>
          <p:nvPr/>
        </p:nvSpPr>
        <p:spPr>
          <a:xfrm>
            <a:off x="3265949" y="2452968"/>
            <a:ext cx="190960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Grafiken für KI-Rennspiel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A8D1BBD-655F-479C-BDD5-F2E88C2C4123}"/>
              </a:ext>
            </a:extLst>
          </p:cNvPr>
          <p:cNvCxnSpPr>
            <a:cxnSpLocks/>
          </p:cNvCxnSpPr>
          <p:nvPr/>
        </p:nvCxnSpPr>
        <p:spPr>
          <a:xfrm flipH="1">
            <a:off x="1897125" y="2602752"/>
            <a:ext cx="1368824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F041CA2-A64C-4FA3-8348-CD850238D76A}"/>
              </a:ext>
            </a:extLst>
          </p:cNvPr>
          <p:cNvCxnSpPr>
            <a:cxnSpLocks/>
          </p:cNvCxnSpPr>
          <p:nvPr/>
        </p:nvCxnSpPr>
        <p:spPr>
          <a:xfrm flipH="1">
            <a:off x="2374555" y="2890920"/>
            <a:ext cx="884479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17C8B7D-1EE8-4AB5-8ED3-360FF710B579}"/>
              </a:ext>
            </a:extLst>
          </p:cNvPr>
          <p:cNvCxnSpPr>
            <a:cxnSpLocks/>
          </p:cNvCxnSpPr>
          <p:nvPr/>
        </p:nvCxnSpPr>
        <p:spPr>
          <a:xfrm flipH="1">
            <a:off x="2131794" y="3130636"/>
            <a:ext cx="1121142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4786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769989"/>
          </a:xfrm>
        </p:spPr>
        <p:txBody>
          <a:bodyPr/>
          <a:lstStyle/>
          <a:p>
            <a:r>
              <a:rPr lang="de-DE" dirty="0"/>
              <a:t>Details zu Workshopablauf und Ideen zur Einbettung in ein Curriculum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5218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5E9941-ADB7-4F2D-B9A4-643BF0A47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378D80-A94D-4482-A75E-C3F5E3EB0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b="0" i="1" dirty="0"/>
              <a:t>(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2"/>
              </a:rPr>
              <a:t>https://www.youtube.com/watch?v=Mr42DQHy3TI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0B9A5C-A7A2-4FD1-A809-6A960AD881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3DCDC38-84D4-4FFC-97F6-E5C4582C6DF7}"/>
              </a:ext>
            </a:extLst>
          </p:cNvPr>
          <p:cNvSpPr/>
          <p:nvPr/>
        </p:nvSpPr>
        <p:spPr>
          <a:xfrm rot="10800000">
            <a:off x="8452660" y="3386672"/>
            <a:ext cx="235328" cy="88317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A4DA4DB-5961-4F4D-9B1E-E7109CDABBC7}"/>
              </a:ext>
            </a:extLst>
          </p:cNvPr>
          <p:cNvSpPr txBox="1"/>
          <p:nvPr/>
        </p:nvSpPr>
        <p:spPr bwMode="gray">
          <a:xfrm>
            <a:off x="8784282" y="3660499"/>
            <a:ext cx="2417196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Um das Lernziel zu stützen: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Fokus auf Training &amp; Test mit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unterschiedlichen Datenvolumina</a:t>
            </a:r>
          </a:p>
        </p:txBody>
      </p:sp>
    </p:spTree>
    <p:extLst>
      <p:ext uri="{BB962C8B-B14F-4D97-AF65-F5344CB8AC3E}">
        <p14:creationId xmlns:p14="http://schemas.microsoft.com/office/powerpoint/2010/main" val="17983656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C2C80E-9A29-4E9D-BE75-3FA38A8E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Varian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4013D7-28C5-4296-AD62-722D8ACBF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806457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inhalte, KI-Inhalte und Workshop-Dauer differenziert nach Klassenstufe, bspw.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Unterstufen:</a:t>
            </a:r>
            <a:r>
              <a:rPr lang="de-DE" dirty="0"/>
              <a:t> Doppelstunde, keine eigene Programmierung, kein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Mittelstufen:</a:t>
            </a:r>
            <a:r>
              <a:rPr lang="de-DE" dirty="0"/>
              <a:t> halber Tag, wenig eigene Programmierung, grob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Oberstufen:</a:t>
            </a:r>
            <a:r>
              <a:rPr lang="de-DE" dirty="0"/>
              <a:t> ganzer Tag, mehr eigene Programmierung, tiefere Erläuterung der Mathematik des ML-Algorithmus, alternative Algorithmen vorstellen (Orange Plattform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62BDB4-1F3B-4846-B452-19A81051FE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190E362-A300-42E9-BB29-52DC25B62E3A}"/>
              </a:ext>
            </a:extLst>
          </p:cNvPr>
          <p:cNvSpPr/>
          <p:nvPr/>
        </p:nvSpPr>
        <p:spPr>
          <a:xfrm rot="10800000">
            <a:off x="6321711" y="3108376"/>
            <a:ext cx="235328" cy="1376159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32190F7-A5E2-4024-9B21-46D15D789AEF}"/>
              </a:ext>
            </a:extLst>
          </p:cNvPr>
          <p:cNvSpPr txBox="1"/>
          <p:nvPr/>
        </p:nvSpPr>
        <p:spPr bwMode="gray">
          <a:xfrm>
            <a:off x="6647291" y="3617842"/>
            <a:ext cx="3466768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Ideen hierzu auf der folgenden Folie</a:t>
            </a:r>
          </a:p>
        </p:txBody>
      </p:sp>
    </p:spTree>
    <p:extLst>
      <p:ext uri="{BB962C8B-B14F-4D97-AF65-F5344CB8AC3E}">
        <p14:creationId xmlns:p14="http://schemas.microsoft.com/office/powerpoint/2010/main" val="21300533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947C64-988D-4C7A-8070-F2D891CB6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deen zum Einbau in ein Informatik-Curriculum</a:t>
            </a:r>
            <a:br>
              <a:rPr lang="de-DE" dirty="0"/>
            </a:br>
            <a:r>
              <a:rPr lang="de-DE" sz="1800" dirty="0"/>
              <a:t>Mittel- und Oberstuf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63BEAD2-2296-4CA1-A78A-C2CDA5C52E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rekt in das komplexe KI-Thema einzusteigen stellt – je nach Wissensstand der </a:t>
            </a:r>
            <a:r>
              <a:rPr lang="de-DE" dirty="0" err="1"/>
              <a:t>SuS</a:t>
            </a:r>
            <a:r>
              <a:rPr lang="de-DE" dirty="0"/>
              <a:t> – eine Herausforderung d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her ist es ggf. sinnvoll, eine </a:t>
            </a:r>
            <a:r>
              <a:rPr lang="de-DE" dirty="0" err="1"/>
              <a:t>Workshopserie</a:t>
            </a:r>
            <a:r>
              <a:rPr lang="de-DE" dirty="0"/>
              <a:t> um den KI-Teil herum zu bau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ögliche Curriculum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 Autorennspiel wie das für dieses Projekt verwendete</a:t>
            </a:r>
          </a:p>
          <a:p>
            <a:pPr lvl="3" indent="0">
              <a:buNone/>
            </a:pPr>
            <a:r>
              <a:rPr lang="de-DE" dirty="0"/>
              <a:t>	Vorwissen wird aufgebaut: Wie funktioniert ein Autorennspiel auf dem </a:t>
            </a:r>
            <a:r>
              <a:rPr lang="de-DE" dirty="0" err="1"/>
              <a:t>Calliope</a:t>
            </a:r>
            <a:r>
              <a:rPr lang="de-DE" dirty="0"/>
              <a:t> (Codebasis Autorennspiel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e „klassische“ autonome Steuerung für das in Schritt 1 entwickelte Spiel</a:t>
            </a:r>
          </a:p>
          <a:p>
            <a:pPr lvl="3" indent="0">
              <a:buNone/>
            </a:pPr>
            <a:r>
              <a:rPr lang="de-DE" dirty="0"/>
              <a:t>	Vorwissen wird aufgebaut: Wie funktioniert eine „klassische“ Automatisierung (Codebasis für „klassische“ autonome 	Steuerung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>
                <a:solidFill>
                  <a:schemeClr val="accent3"/>
                </a:solidFill>
              </a:rPr>
              <a:t>Danach kann das </a:t>
            </a:r>
            <a:r>
              <a:rPr lang="de-DE" b="1" dirty="0" err="1">
                <a:solidFill>
                  <a:schemeClr val="accent3"/>
                </a:solidFill>
              </a:rPr>
              <a:t>KI@Calliope-Projekt</a:t>
            </a:r>
            <a:r>
              <a:rPr lang="de-DE" b="1" dirty="0">
                <a:solidFill>
                  <a:schemeClr val="accent3"/>
                </a:solidFill>
              </a:rPr>
              <a:t> starten mit dem aufgebauten Vorwissen, sodass das Lernziel auf das Thema „Künstliche Intelligenz“ fokussiert werden kann, ohne erst das aufgebaute Vorwissen vermitteln zu müss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gänzungen für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Vertiefung des Themas, z.B.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Statt neuronale Netze andere ML-Modelle ausprobieren (</a:t>
            </a:r>
            <a:r>
              <a:rPr lang="de-DE" dirty="0" err="1"/>
              <a:t>RandomForest</a:t>
            </a:r>
            <a:r>
              <a:rPr lang="de-DE" dirty="0"/>
              <a:t>, SVM, </a:t>
            </a:r>
            <a:r>
              <a:rPr lang="de-DE" dirty="0" err="1"/>
              <a:t>NaiveBayes</a:t>
            </a:r>
            <a:r>
              <a:rPr lang="de-DE" dirty="0"/>
              <a:t>, …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omplexere neuronale Netze ausprobieren mit </a:t>
            </a:r>
            <a:r>
              <a:rPr lang="de-DE" dirty="0" err="1"/>
              <a:t>MIT</a:t>
            </a:r>
            <a:r>
              <a:rPr lang="de-DE" dirty="0"/>
              <a:t> </a:t>
            </a:r>
            <a:r>
              <a:rPr lang="de-DE" dirty="0" err="1"/>
              <a:t>DeepTraffic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9609-D539-4A9F-960E-3B7C32CB52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91864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4E084-0957-4C10-89A5-0AEF705E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ORANGE </a:t>
            </a:r>
            <a:r>
              <a:rPr lang="de-DE" dirty="0" err="1"/>
              <a:t>Platform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30B60A-3141-4B11-9339-96DA3FFEFC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23151" y="1476374"/>
            <a:ext cx="3872848" cy="4356101"/>
          </a:xfrm>
          <a:noFill/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range ist eine für das studentische Umfeld entwickelte grafische Plattform für Datenanalyse und maschinelles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nser Projekt integriert auch mit einem für unser Projekt entwickelten Orange Workflow (.</a:t>
            </a:r>
            <a:r>
              <a:rPr lang="de-DE" dirty="0" err="1"/>
              <a:t>ows</a:t>
            </a:r>
            <a:r>
              <a:rPr lang="de-DE" dirty="0"/>
              <a:t> Datei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gabedaten in den Workflow sind die mit dem Datensammler gesammelten Logdaten der </a:t>
            </a:r>
            <a:r>
              <a:rPr lang="de-DE" dirty="0" err="1"/>
              <a:t>Calliope</a:t>
            </a:r>
            <a:r>
              <a:rPr lang="de-DE" dirty="0"/>
              <a:t> Mini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usgabe des Workflows ist ein </a:t>
            </a:r>
            <a:r>
              <a:rPr lang="de-DE" b="1" dirty="0"/>
              <a:t>beliebiges</a:t>
            </a:r>
            <a:r>
              <a:rPr lang="de-DE" dirty="0"/>
              <a:t> KI-Modell, mit dem das autonome </a:t>
            </a:r>
            <a:r>
              <a:rPr lang="de-DE" dirty="0" err="1"/>
              <a:t>Calliope</a:t>
            </a:r>
            <a:r>
              <a:rPr lang="de-DE" dirty="0"/>
              <a:t> Mini Auto auch gesteuert werden kan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s eröffnet die Option, für die Lösung des Problems nicht nur ein neuronales Netzwerk, sondern auch andere Algorithmen des maschinellen Lernens zu verproben und in die mathematischen/informatischen Hintergründe einzusteig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CFDB33-5694-4828-B455-7C74E98785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2F5C9C-EF02-4F35-8B3A-4F1DE3C70E93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323997" y="875771"/>
            <a:ext cx="6577735" cy="466823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71E7C79E-ECAD-45C6-9C1D-B6DBC3E6DC85}"/>
              </a:ext>
            </a:extLst>
          </p:cNvPr>
          <p:cNvSpPr/>
          <p:nvPr/>
        </p:nvSpPr>
        <p:spPr bwMode="gray">
          <a:xfrm>
            <a:off x="7720716" y="3548712"/>
            <a:ext cx="3562185" cy="659958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60B3030-715D-4F3F-BD22-17E1E6AC3BB0}"/>
              </a:ext>
            </a:extLst>
          </p:cNvPr>
          <p:cNvSpPr/>
          <p:nvPr/>
        </p:nvSpPr>
        <p:spPr bwMode="gray">
          <a:xfrm>
            <a:off x="4405023" y="3548711"/>
            <a:ext cx="675860" cy="147651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D9AC09D-2270-4BD0-8EE6-A532E51C7191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6044184" y="3878691"/>
            <a:ext cx="1676532" cy="49214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060A6A00-BE48-4CE7-8950-BC5F328E0B6F}"/>
              </a:ext>
            </a:extLst>
          </p:cNvPr>
          <p:cNvSpPr/>
          <p:nvPr/>
        </p:nvSpPr>
        <p:spPr bwMode="gray">
          <a:xfrm>
            <a:off x="5502302" y="4149228"/>
            <a:ext cx="541882" cy="36584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058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dieses Dokumen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Einführung und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Softwareanforderung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für Workshopvariante „</a:t>
            </a:r>
            <a:r>
              <a:rPr lang="de-DE" b="1" dirty="0" err="1"/>
              <a:t>Calliope</a:t>
            </a:r>
            <a:r>
              <a:rPr lang="de-DE" b="1" dirty="0"/>
              <a:t> Mini &amp; Microsoft </a:t>
            </a:r>
            <a:r>
              <a:rPr lang="de-DE" b="1" dirty="0" err="1"/>
              <a:t>Makecode</a:t>
            </a:r>
            <a:r>
              <a:rPr lang="de-DE" b="1" dirty="0"/>
              <a:t>“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für Workshopvariante „</a:t>
            </a:r>
            <a:r>
              <a:rPr lang="de-DE" b="1" dirty="0" err="1"/>
              <a:t>Calliope</a:t>
            </a:r>
            <a:r>
              <a:rPr lang="de-DE" b="1" dirty="0"/>
              <a:t> Mini &amp; </a:t>
            </a:r>
            <a:r>
              <a:rPr lang="de-DE" b="1" dirty="0" err="1"/>
              <a:t>OpenRoberta</a:t>
            </a:r>
            <a:r>
              <a:rPr lang="de-DE" b="1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Details zum Workshopformat und Ideen zur Einbettung in ein Curriculum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51F5DF-EB09-412C-92A4-2634FDDEEA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967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1551A-32F7-494F-928F-B96C77D3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</a:t>
            </a:r>
            <a:r>
              <a:rPr lang="de-DE" dirty="0" err="1"/>
              <a:t>vertiefung</a:t>
            </a:r>
            <a:r>
              <a:rPr lang="de-DE" dirty="0"/>
              <a:t> für Interessier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F4008-0D44-4DF7-B33C-EF30EEB70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78542"/>
            <a:ext cx="10872000" cy="46300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u="sng" dirty="0">
                <a:hlinkClick r:id="rId2"/>
              </a:rPr>
              <a:t>https://selfdrivingcars.mit.edu/deeptraffic/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D15E7-16C3-4A1A-9661-C134DB3742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ED4D90B-0247-471E-9995-DC3198E9B2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2119" y="1271273"/>
            <a:ext cx="7597835" cy="4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220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1551A-32F7-494F-928F-B96C77D3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</a:t>
            </a:r>
            <a:r>
              <a:rPr lang="de-DE" dirty="0" err="1"/>
              <a:t>vertiefung</a:t>
            </a:r>
            <a:r>
              <a:rPr lang="de-DE" dirty="0"/>
              <a:t> für Interessier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F4008-0D44-4DF7-B33C-EF30EEB70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78542"/>
            <a:ext cx="10872000" cy="46300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u="sng" dirty="0">
                <a:hlinkClick r:id="rId2"/>
              </a:rPr>
              <a:t>https://aws.amazon.com/de/events/summits/online/emea/deepracer/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D15E7-16C3-4A1A-9661-C134DB3742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AA5FF4B-32F1-41C4-B93F-176F73A504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179" y="1605658"/>
            <a:ext cx="8363461" cy="24962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63169DD-5759-4E49-8932-3DF3CCAF1A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782" y="3949499"/>
            <a:ext cx="5557355" cy="171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616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inführung und Überblic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394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544C5A0-90FB-4959-BAAA-A0873BB97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ist es wichtig, schon frühzeitig im Thema</a:t>
            </a:r>
            <a:br>
              <a:rPr lang="de-DE" dirty="0"/>
            </a:br>
            <a:r>
              <a:rPr lang="de-DE" dirty="0"/>
              <a:t>„Künstliche Intelligenz“ (KI) zu bilden?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C257E3-0F17-4C03-8CC9-AE3E96D47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wird im IT-Bereich eine der </a:t>
            </a:r>
            <a:r>
              <a:rPr lang="de-DE" dirty="0">
                <a:solidFill>
                  <a:srgbClr val="FF0000"/>
                </a:solidFill>
              </a:rPr>
              <a:t>Basistechnologien</a:t>
            </a:r>
            <a:r>
              <a:rPr lang="de-DE" dirty="0"/>
              <a:t> des 21. Jahrhunderts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sis von KI ist das sogenannte </a:t>
            </a:r>
            <a:r>
              <a:rPr lang="de-DE" dirty="0">
                <a:solidFill>
                  <a:srgbClr val="FF0000"/>
                </a:solidFill>
              </a:rPr>
              <a:t>Maschinelle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fundamental unterschiedlich zu klassischer Programmieru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tochastisch statt deterministisch – ein </a:t>
            </a:r>
            <a:r>
              <a:rPr lang="de-DE" dirty="0">
                <a:solidFill>
                  <a:srgbClr val="FF0000"/>
                </a:solidFill>
              </a:rPr>
              <a:t>Paradigmenwech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schon im </a:t>
            </a:r>
            <a:r>
              <a:rPr lang="de-DE" dirty="0">
                <a:solidFill>
                  <a:srgbClr val="FF0000"/>
                </a:solidFill>
              </a:rPr>
              <a:t>Alltag</a:t>
            </a:r>
            <a:r>
              <a:rPr lang="de-DE" dirty="0"/>
              <a:t> angekommen, sowohl </a:t>
            </a:r>
            <a:r>
              <a:rPr lang="de-DE" dirty="0">
                <a:solidFill>
                  <a:srgbClr val="FF0000"/>
                </a:solidFill>
              </a:rPr>
              <a:t>positiv</a:t>
            </a:r>
            <a:r>
              <a:rPr lang="de-DE" dirty="0"/>
              <a:t> als auch </a:t>
            </a:r>
            <a:r>
              <a:rPr lang="de-DE" dirty="0">
                <a:solidFill>
                  <a:srgbClr val="FF0000"/>
                </a:solidFill>
              </a:rPr>
              <a:t>negativ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prach-, Übersetzungs-, Bildverarbeitungs-Assistenten auf Smartphone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obotik: Haushaltsroboter, Autonomes Fahr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Filterblasen &amp; Meinungslenkung durch KI-Newsfeed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eep Fake News</a:t>
            </a:r>
            <a:br>
              <a:rPr lang="de-DE" dirty="0"/>
            </a:br>
            <a:endParaRPr lang="de-DE" dirty="0"/>
          </a:p>
          <a:p>
            <a:r>
              <a:rPr lang="de-DE" sz="2000" dirty="0"/>
              <a:t>		Grundlagenwissen in Künstlicher Intelligenz</a:t>
            </a:r>
            <a:br>
              <a:rPr lang="de-DE" sz="2000" dirty="0"/>
            </a:br>
            <a:r>
              <a:rPr lang="de-DE" sz="2000" dirty="0"/>
              <a:t>		stärkt die Technologie- und Medienkompetenz!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D7789F4-D375-4264-BF5F-6C6D59E8F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1" y="1206030"/>
            <a:ext cx="2545057" cy="157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61E95C-CC13-49F5-B2DC-A9A69F7306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7"/>
          <a:stretch/>
        </p:blipFill>
        <p:spPr bwMode="auto">
          <a:xfrm>
            <a:off x="8355106" y="2782093"/>
            <a:ext cx="2426772" cy="14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BB3BEBBF-61C4-45D8-A505-BB72B7C8D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648" y="3960080"/>
            <a:ext cx="2970803" cy="1836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43908B3-33C3-4EA1-8A9B-0000384C0A67}"/>
              </a:ext>
            </a:extLst>
          </p:cNvPr>
          <p:cNvSpPr/>
          <p:nvPr/>
        </p:nvSpPr>
        <p:spPr bwMode="gray">
          <a:xfrm>
            <a:off x="1354307" y="4867835"/>
            <a:ext cx="5065058" cy="8875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6B2206-37E9-4F12-A842-AE59FC73FD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649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B4E517-9B6C-41CC-B812-5F72C4B09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shopidee</a:t>
            </a:r>
            <a:r>
              <a:rPr lang="de-DE" dirty="0"/>
              <a:t> - Überblick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6B4AB79-ED4E-4672-9A74-567EC6B380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476374"/>
            <a:ext cx="10871999" cy="403225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ernziel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lernen auf spielerische Art und Weise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was “künstliche Intelligenz” ist: Einsatz von Algorithmen des </a:t>
            </a:r>
            <a:r>
              <a:rPr lang="de-DE" b="1" dirty="0"/>
              <a:t>maschinellen Lernen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en </a:t>
            </a:r>
            <a:r>
              <a:rPr lang="de-DE" b="1" dirty="0"/>
              <a:t>gravierenden Unterschied </a:t>
            </a:r>
            <a:r>
              <a:rPr lang="de-DE" dirty="0"/>
              <a:t>zwischen klassischer Programmierung von Computern und deren Programmierung mittels maschinellen Lern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noProof="0" dirty="0"/>
              <a:t>KI-Workshop für Kinder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bringen in einem Workshop einem “autonomen Auto” das selbständige (autonome) Fahren bei, indem sie einen </a:t>
            </a:r>
            <a:r>
              <a:rPr lang="de-DE" dirty="0" err="1"/>
              <a:t>Calliope</a:t>
            </a:r>
            <a:r>
              <a:rPr lang="de-DE" dirty="0"/>
              <a:t> “künstlich intelligent” machen, sodass er autonom Hindernissen auf der Straße ausweichen kan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noProof="0" dirty="0"/>
              <a:t>Dies zur Erhöhung der Motivation durch „Gamification“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inder erzeugen Trainingsdaten für die KI mittels eines Autorennspiels auf der LED-Matrix des </a:t>
            </a:r>
            <a:r>
              <a:rPr lang="de-DE" dirty="0" err="1"/>
              <a:t>Calliop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Teams können gebildet </a:t>
            </a:r>
            <a:r>
              <a:rPr lang="de-DE" dirty="0"/>
              <a:t>werden, die gegeneinander antreten, das beste autonome Auto zu entwickel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Wer das beste autonome Auto “programmiert” (trainiert), gewinn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807F3D1-B3F4-4555-88FF-CCF3FA73E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0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8C7A38-1AAF-4BA2-AAB8-94367BF89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Paradigmenwechsel beim maschinellen lernen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771DE40-F4EC-4483-A737-0A904A0202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2300E29-1CED-4FEE-9B33-41BAAE2C128F}"/>
              </a:ext>
            </a:extLst>
          </p:cNvPr>
          <p:cNvSpPr/>
          <p:nvPr/>
        </p:nvSpPr>
        <p:spPr>
          <a:xfrm>
            <a:off x="233670" y="5494158"/>
            <a:ext cx="20867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/>
              <a:t>Inspiration: </a:t>
            </a:r>
            <a:r>
              <a:rPr lang="en-US" sz="1400" i="1" dirty="0">
                <a:hlinkClick r:id="rId3"/>
              </a:rPr>
              <a:t>Jason Brownlee</a:t>
            </a:r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93EE37F-2E6A-4E60-8803-72BA68AF9527}"/>
              </a:ext>
            </a:extLst>
          </p:cNvPr>
          <p:cNvSpPr txBox="1"/>
          <p:nvPr/>
        </p:nvSpPr>
        <p:spPr bwMode="gray">
          <a:xfrm>
            <a:off x="6541008" y="1945941"/>
            <a:ext cx="4484118" cy="77933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100% deterministisches Verhalten</a:t>
            </a:r>
            <a:br>
              <a:rPr lang="de-DE" sz="2400" b="1" dirty="0"/>
            </a:br>
            <a:r>
              <a:rPr lang="de-DE" sz="1800" dirty="0"/>
              <a:t>(vorhersagbares Verhalten)</a:t>
            </a:r>
            <a:endParaRPr lang="de-DE" sz="2400" dirty="0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3FFB5C11-B87E-47B8-B434-57085FB8CF3E}"/>
              </a:ext>
            </a:extLst>
          </p:cNvPr>
          <p:cNvSpPr/>
          <p:nvPr/>
        </p:nvSpPr>
        <p:spPr bwMode="gray">
          <a:xfrm>
            <a:off x="8465234" y="2848440"/>
            <a:ext cx="536448" cy="700707"/>
          </a:xfrm>
          <a:prstGeom prst="down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614449D-8E80-4F00-8A98-67EC6A1542F3}"/>
              </a:ext>
            </a:extLst>
          </p:cNvPr>
          <p:cNvSpPr txBox="1"/>
          <p:nvPr/>
        </p:nvSpPr>
        <p:spPr bwMode="gray">
          <a:xfrm>
            <a:off x="6254578" y="4007320"/>
            <a:ext cx="4941419" cy="10667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„100-X %“ </a:t>
            </a:r>
            <a:r>
              <a:rPr lang="de-DE" sz="2400" b="1" dirty="0">
                <a:sym typeface="Wingdings" panose="05000000000000000000" pitchFamily="2" charset="2"/>
              </a:rPr>
              <a:t></a:t>
            </a:r>
            <a:r>
              <a:rPr lang="de-DE" sz="2400" b="1" dirty="0"/>
              <a:t> stochastisches Verhalten</a:t>
            </a:r>
            <a:br>
              <a:rPr lang="de-DE" sz="2400" b="1" dirty="0"/>
            </a:br>
            <a:r>
              <a:rPr lang="de-DE" sz="1800" dirty="0"/>
              <a:t>(nur in einer </a:t>
            </a:r>
            <a:r>
              <a:rPr lang="de-DE" sz="1800" b="1" dirty="0"/>
              <a:t>Bandbreite</a:t>
            </a:r>
            <a:r>
              <a:rPr lang="de-DE" sz="1800" dirty="0"/>
              <a:t> von Wahrscheinlichkeiten</a:t>
            </a:r>
            <a:br>
              <a:rPr lang="de-DE" sz="1800" dirty="0"/>
            </a:br>
            <a:r>
              <a:rPr lang="de-DE" sz="1800" dirty="0"/>
              <a:t> vorhersagbares Verhalten)</a:t>
            </a:r>
            <a:endParaRPr lang="de-DE" sz="2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37703B-0C73-4F3B-8F6C-641B964B0665}"/>
              </a:ext>
            </a:extLst>
          </p:cNvPr>
          <p:cNvSpPr txBox="1"/>
          <p:nvPr/>
        </p:nvSpPr>
        <p:spPr bwMode="gray">
          <a:xfrm>
            <a:off x="7819058" y="151247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1.0“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44F49F2-7FF8-49DA-A9FC-4A2C76D6187C}"/>
              </a:ext>
            </a:extLst>
          </p:cNvPr>
          <p:cNvSpPr txBox="1"/>
          <p:nvPr/>
        </p:nvSpPr>
        <p:spPr bwMode="gray">
          <a:xfrm>
            <a:off x="7819058" y="357303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2.0“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E8D35A7-95BC-4588-B44B-CC1FF3D9AACD}"/>
              </a:ext>
            </a:extLst>
          </p:cNvPr>
          <p:cNvSpPr txBox="1"/>
          <p:nvPr/>
        </p:nvSpPr>
        <p:spPr bwMode="gray">
          <a:xfrm>
            <a:off x="564833" y="3613852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214C888-42D9-43F4-BB30-28880230DA13}"/>
              </a:ext>
            </a:extLst>
          </p:cNvPr>
          <p:cNvSpPr txBox="1"/>
          <p:nvPr/>
        </p:nvSpPr>
        <p:spPr bwMode="gray">
          <a:xfrm>
            <a:off x="166608" y="401528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9826382-5B7E-4CB9-9F1F-790DC9104542}"/>
              </a:ext>
            </a:extLst>
          </p:cNvPr>
          <p:cNvSpPr txBox="1"/>
          <p:nvPr/>
        </p:nvSpPr>
        <p:spPr bwMode="gray">
          <a:xfrm>
            <a:off x="970059" y="1536331"/>
            <a:ext cx="25444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Klassische Programmier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EF18018-FF46-409E-A789-BF27EDA01BCC}"/>
              </a:ext>
            </a:extLst>
          </p:cNvPr>
          <p:cNvSpPr txBox="1"/>
          <p:nvPr/>
        </p:nvSpPr>
        <p:spPr bwMode="gray">
          <a:xfrm>
            <a:off x="901580" y="3128124"/>
            <a:ext cx="4548914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Programmierung mittels maschinellen Lernen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6D11EE1-85A9-4AB9-B562-2E3255FA5634}"/>
              </a:ext>
            </a:extLst>
          </p:cNvPr>
          <p:cNvSpPr txBox="1"/>
          <p:nvPr/>
        </p:nvSpPr>
        <p:spPr bwMode="gray">
          <a:xfrm>
            <a:off x="1033668" y="207388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02E4379-DC70-4F45-8A66-9970E0E2EA35}"/>
              </a:ext>
            </a:extLst>
          </p:cNvPr>
          <p:cNvSpPr txBox="1"/>
          <p:nvPr/>
        </p:nvSpPr>
        <p:spPr bwMode="gray">
          <a:xfrm>
            <a:off x="1009815" y="246595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2395E33-28ED-4A17-8A32-500441DE011D}"/>
              </a:ext>
            </a:extLst>
          </p:cNvPr>
          <p:cNvSpPr txBox="1"/>
          <p:nvPr/>
        </p:nvSpPr>
        <p:spPr bwMode="gray">
          <a:xfrm>
            <a:off x="4424776" y="222777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3022FD4-AEC2-48B8-A030-0718B19B7159}"/>
              </a:ext>
            </a:extLst>
          </p:cNvPr>
          <p:cNvSpPr txBox="1"/>
          <p:nvPr/>
        </p:nvSpPr>
        <p:spPr bwMode="gray">
          <a:xfrm>
            <a:off x="4424776" y="3782592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B1012A-BC6A-4A7C-A600-6AFF7E9026AD}"/>
              </a:ext>
            </a:extLst>
          </p:cNvPr>
          <p:cNvSpPr/>
          <p:nvPr/>
        </p:nvSpPr>
        <p:spPr bwMode="gray">
          <a:xfrm>
            <a:off x="2472856" y="194594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CFFB920-3A5E-4D16-8D2F-5A030427C617}"/>
              </a:ext>
            </a:extLst>
          </p:cNvPr>
          <p:cNvSpPr/>
          <p:nvPr/>
        </p:nvSpPr>
        <p:spPr bwMode="gray">
          <a:xfrm>
            <a:off x="2511987" y="3551888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9AC283B-72D3-4051-8C65-C8A532549A24}"/>
              </a:ext>
            </a:extLst>
          </p:cNvPr>
          <p:cNvCxnSpPr/>
          <p:nvPr/>
        </p:nvCxnSpPr>
        <p:spPr>
          <a:xfrm>
            <a:off x="2004760" y="4800359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A237BFFC-3E46-4018-996E-B92187BDFCB1}"/>
              </a:ext>
            </a:extLst>
          </p:cNvPr>
          <p:cNvSpPr txBox="1"/>
          <p:nvPr/>
        </p:nvSpPr>
        <p:spPr bwMode="gray">
          <a:xfrm>
            <a:off x="146269" y="462860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396750D-8673-48D9-A9CC-76692518755F}"/>
              </a:ext>
            </a:extLst>
          </p:cNvPr>
          <p:cNvCxnSpPr/>
          <p:nvPr/>
        </p:nvCxnSpPr>
        <p:spPr>
          <a:xfrm>
            <a:off x="2004760" y="418943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EA71D41F-DC77-461D-B5C0-058DF4179B83}"/>
              </a:ext>
            </a:extLst>
          </p:cNvPr>
          <p:cNvCxnSpPr/>
          <p:nvPr/>
        </p:nvCxnSpPr>
        <p:spPr>
          <a:xfrm>
            <a:off x="2004759" y="379891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A4F7495-B7A1-4C96-BE40-0DE9EFF43DC6}"/>
              </a:ext>
            </a:extLst>
          </p:cNvPr>
          <p:cNvCxnSpPr/>
          <p:nvPr/>
        </p:nvCxnSpPr>
        <p:spPr>
          <a:xfrm>
            <a:off x="1983464" y="264527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890A545-571B-446C-A8AF-06475929C20C}"/>
              </a:ext>
            </a:extLst>
          </p:cNvPr>
          <p:cNvCxnSpPr/>
          <p:nvPr/>
        </p:nvCxnSpPr>
        <p:spPr>
          <a:xfrm>
            <a:off x="1991416" y="224695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DCE84DD-E8C2-44DE-BAEA-03EB1EA83C91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3983603" y="237972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781BD2C-F0C7-46D5-B1ED-EAC45B83124F}"/>
              </a:ext>
            </a:extLst>
          </p:cNvPr>
          <p:cNvCxnSpPr>
            <a:cxnSpLocks/>
          </p:cNvCxnSpPr>
          <p:nvPr/>
        </p:nvCxnSpPr>
        <p:spPr>
          <a:xfrm>
            <a:off x="4038825" y="3955988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932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B16E49-7C88-429B-959F-FB1EC8BB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ürliche Intelligen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7EEDC-2C9D-445F-A3ED-8FA7286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8F3837A-60E0-48AC-89C0-874D7EC501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192" r="23193"/>
          <a:stretch/>
        </p:blipFill>
        <p:spPr>
          <a:xfrm>
            <a:off x="104391" y="1296857"/>
            <a:ext cx="6725253" cy="3886460"/>
          </a:xfrm>
          <a:prstGeom prst="rect">
            <a:avLst/>
          </a:prstGeom>
        </p:spPr>
      </p:pic>
      <p:pic>
        <p:nvPicPr>
          <p:cNvPr id="95236" name="Picture 4" descr="Bildergebnis fÃ¼r neuron axon dendrit">
            <a:extLst>
              <a:ext uri="{FF2B5EF4-FFF2-40B4-BE49-F238E27FC236}">
                <a16:creationId xmlns:a16="http://schemas.microsoft.com/office/drawing/2014/main" id="{EA71CFA0-7078-4C14-8C3C-22FB186A1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57" y="2953484"/>
            <a:ext cx="4105275" cy="254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234" name="Picture 2" descr="Das Gehirn">
            <a:extLst>
              <a:ext uri="{FF2B5EF4-FFF2-40B4-BE49-F238E27FC236}">
                <a16:creationId xmlns:a16="http://schemas.microsoft.com/office/drawing/2014/main" id="{DE7D9688-3FC8-4AFD-A72F-D916F0B70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10" y="323238"/>
            <a:ext cx="4074022" cy="263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79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3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DE_16x9_Mai_2018.potx" id="{CC4746A3-1367-4B70-B946-28B745E1D77E}" vid="{9F61961A-70FA-4A59-A848-9AB3DA65AC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kom_Powerpoint-Master_DE_16x9_Mai_2018</Template>
  <TotalTime>0</TotalTime>
  <Words>3401</Words>
  <Application>Microsoft Office PowerPoint</Application>
  <PresentationFormat>Benutzerdefiniert</PresentationFormat>
  <Paragraphs>396</Paragraphs>
  <Slides>41</Slides>
  <Notes>4</Notes>
  <HiddenSlides>7</HiddenSlides>
  <MMClips>2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51" baseType="lpstr">
      <vt:lpstr>Arial</vt:lpstr>
      <vt:lpstr>Liberation Sans</vt:lpstr>
      <vt:lpstr>TeleGrotesk Next</vt:lpstr>
      <vt:lpstr>TeleGrotesk Next Ultra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Künstliche Intelligenz (KI) in SCHULEN Projekt: Calliope-Rennspiel Wissen zu Künstlicher Intelligenz Spielerisch in die Schulen Bringen    Ferenc Hechler, Mirko Jelinek, Christian Schiller (LEAD), Dirk Wolters       Dokumentationsstand: 08.09.2020</vt:lpstr>
      <vt:lpstr>Einleitung</vt:lpstr>
      <vt:lpstr>Projektmaterial und Lizenz</vt:lpstr>
      <vt:lpstr>Inhalt dieses Dokuments</vt:lpstr>
      <vt:lpstr>Einführung und Überblick</vt:lpstr>
      <vt:lpstr>Warum ist es wichtig, schon frühzeitig im Thema „Künstliche Intelligenz“ (KI) zu bilden?</vt:lpstr>
      <vt:lpstr>Workshopidee - Überblick</vt:lpstr>
      <vt:lpstr>Der Paradigmenwechsel beim maschinellen lernen</vt:lpstr>
      <vt:lpstr>Natürliche Intelligenz</vt:lpstr>
      <vt:lpstr>Künstliche „Intelligenz“</vt:lpstr>
      <vt:lpstr>KNN – grundsätzliche Funktionsweise</vt:lpstr>
      <vt:lpstr>KI „Denkt“ ganz anders als der Mensch (Noch?) nicht vergleichbar mit natürlicher Intelligenz</vt:lpstr>
      <vt:lpstr>autonomes fahren in der echten welt</vt:lpstr>
      <vt:lpstr>Des Workshops Kern</vt:lpstr>
      <vt:lpstr>Autonomes Fahren auf dem Calliope Mini</vt:lpstr>
      <vt:lpstr>Vergleich Echte Welt mit unserem Workshop „Wow“-Effekt für die Schüler</vt:lpstr>
      <vt:lpstr>Verarbeitung des Calliope-Autorennspiels mit künstlichem Neuronalen Netz</vt:lpstr>
      <vt:lpstr>Der LernProzess für das „autonome Calliope-Auto“ Verknüpfung von klassischer programmierung mit maschinellem Lernen</vt:lpstr>
      <vt:lpstr>Unser Projekt unterstützt mehrere Varianten für Den LernProzess des „autonomen Calliope-Autos“</vt:lpstr>
      <vt:lpstr>Video zu Variante 1B</vt:lpstr>
      <vt:lpstr>Softwareanforderungen für Workshopvariante „Calliope Mini und Microsoft Makecode“</vt:lpstr>
      <vt:lpstr>Realisierungsstatus Stand 09/2020</vt:lpstr>
      <vt:lpstr>Realisierungsstatus Stand 09/2020</vt:lpstr>
      <vt:lpstr>Realisierungsstatus Stand 09/2020</vt:lpstr>
      <vt:lpstr>Liste der Basis- und Projektsoftware</vt:lpstr>
      <vt:lpstr>Liste der Basis- und Projektsoftware</vt:lpstr>
      <vt:lpstr>Projektdateien - DOKUMENTATION</vt:lpstr>
      <vt:lpstr>Softwaregrundlagen für Variante 1A</vt:lpstr>
      <vt:lpstr>Variante 1A – Projektdateien für Makecode</vt:lpstr>
      <vt:lpstr>Variante 1A – Projektdateien für C</vt:lpstr>
      <vt:lpstr>Variante 1A – Projektdateien für Python</vt:lpstr>
      <vt:lpstr>Softwaregrundlagen für Variante 1B</vt:lpstr>
      <vt:lpstr>Variante 1b – Projektdateien für Calliope Makecode</vt:lpstr>
      <vt:lpstr>Variante 1b – Projektdateien für Python</vt:lpstr>
      <vt:lpstr>Details zu Workshopablauf und Ideen zur Einbettung in ein Curriculum</vt:lpstr>
      <vt:lpstr>Workshop-ablauf</vt:lpstr>
      <vt:lpstr>Workshop-Varianten</vt:lpstr>
      <vt:lpstr>Ideen zum Einbau in ein Informatik-Curriculum Mittel- und Oberstufe</vt:lpstr>
      <vt:lpstr>Beispiel Oberstufe: ORANGE Platform</vt:lpstr>
      <vt:lpstr>Beispiel Oberstufe: vertiefung für Interessierte</vt:lpstr>
      <vt:lpstr>Beispiel Oberstufe: vertiefung für Interessierte</vt:lpstr>
    </vt:vector>
  </TitlesOfParts>
  <Company>Deutsche Telekom IT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sen zu Künstlicher Intelligenz spielerisch in die Schulen bringen </dc:title>
  <dc:creator>Schiller, Christian</dc:creator>
  <cp:keywords/>
  <dc:description>No redistribution of slides or slide deck without author's consent - see slide "Disclaimer &amp; Contact"</dc:description>
  <cp:lastModifiedBy>Schiller, Christian</cp:lastModifiedBy>
  <cp:revision>308</cp:revision>
  <cp:lastPrinted>2016-10-04T09:12:04Z</cp:lastPrinted>
  <dcterms:created xsi:type="dcterms:W3CDTF">2019-03-27T11:58:17Z</dcterms:created>
  <dcterms:modified xsi:type="dcterms:W3CDTF">2020-09-08T20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